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3.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5.xml" ContentType="application/vnd.openxmlformats-officedocument.theme+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6.xml" ContentType="application/vnd.openxmlformats-officedocument.theme+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75" r:id="rId5"/>
    <p:sldMasterId id="2147483707" r:id="rId6"/>
    <p:sldMasterId id="2147483721" r:id="rId7"/>
    <p:sldMasterId id="2147483746" r:id="rId8"/>
    <p:sldMasterId id="2147483780" r:id="rId9"/>
    <p:sldMasterId id="2147483804" r:id="rId10"/>
  </p:sldMasterIdLst>
  <p:notesMasterIdLst>
    <p:notesMasterId r:id="rId74"/>
  </p:notesMasterIdLst>
  <p:handoutMasterIdLst>
    <p:handoutMasterId r:id="rId75"/>
  </p:handoutMasterIdLst>
  <p:sldIdLst>
    <p:sldId id="258" r:id="rId11"/>
    <p:sldId id="256" r:id="rId12"/>
    <p:sldId id="270" r:id="rId13"/>
    <p:sldId id="322" r:id="rId14"/>
    <p:sldId id="323" r:id="rId15"/>
    <p:sldId id="331" r:id="rId16"/>
    <p:sldId id="332" r:id="rId17"/>
    <p:sldId id="283" r:id="rId18"/>
    <p:sldId id="284" r:id="rId19"/>
    <p:sldId id="357" r:id="rId20"/>
    <p:sldId id="285" r:id="rId21"/>
    <p:sldId id="286" r:id="rId22"/>
    <p:sldId id="287" r:id="rId23"/>
    <p:sldId id="288" r:id="rId24"/>
    <p:sldId id="290" r:id="rId25"/>
    <p:sldId id="291" r:id="rId26"/>
    <p:sldId id="292" r:id="rId27"/>
    <p:sldId id="293" r:id="rId28"/>
    <p:sldId id="294" r:id="rId29"/>
    <p:sldId id="295" r:id="rId30"/>
    <p:sldId id="296" r:id="rId31"/>
    <p:sldId id="297" r:id="rId32"/>
    <p:sldId id="326" r:id="rId33"/>
    <p:sldId id="327" r:id="rId34"/>
    <p:sldId id="333" r:id="rId35"/>
    <p:sldId id="341" r:id="rId36"/>
    <p:sldId id="339" r:id="rId37"/>
    <p:sldId id="340" r:id="rId38"/>
    <p:sldId id="342" r:id="rId39"/>
    <p:sldId id="343" r:id="rId40"/>
    <p:sldId id="337" r:id="rId41"/>
    <p:sldId id="338" r:id="rId42"/>
    <p:sldId id="298" r:id="rId43"/>
    <p:sldId id="299" r:id="rId44"/>
    <p:sldId id="300" r:id="rId45"/>
    <p:sldId id="345" r:id="rId46"/>
    <p:sldId id="346" r:id="rId47"/>
    <p:sldId id="347" r:id="rId48"/>
    <p:sldId id="348" r:id="rId49"/>
    <p:sldId id="349" r:id="rId50"/>
    <p:sldId id="350" r:id="rId51"/>
    <p:sldId id="352" r:id="rId52"/>
    <p:sldId id="353" r:id="rId53"/>
    <p:sldId id="351" r:id="rId54"/>
    <p:sldId id="354" r:id="rId55"/>
    <p:sldId id="355" r:id="rId56"/>
    <p:sldId id="312" r:id="rId57"/>
    <p:sldId id="314" r:id="rId58"/>
    <p:sldId id="315" r:id="rId59"/>
    <p:sldId id="316" r:id="rId60"/>
    <p:sldId id="317" r:id="rId61"/>
    <p:sldId id="318" r:id="rId62"/>
    <p:sldId id="319" r:id="rId63"/>
    <p:sldId id="320" r:id="rId64"/>
    <p:sldId id="321" r:id="rId65"/>
    <p:sldId id="303" r:id="rId66"/>
    <p:sldId id="302" r:id="rId67"/>
    <p:sldId id="280" r:id="rId68"/>
    <p:sldId id="334" r:id="rId69"/>
    <p:sldId id="344" r:id="rId70"/>
    <p:sldId id="307" r:id="rId71"/>
    <p:sldId id="308" r:id="rId72"/>
    <p:sldId id="356" r:id="rId73"/>
  </p:sldIdLst>
  <p:sldSz cx="12192000" cy="6858000"/>
  <p:notesSz cx="6858000" cy="9144000"/>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3B0DA"/>
    <a:srgbClr val="1894C6"/>
    <a:srgbClr val="1584AF"/>
    <a:srgbClr val="106F9F"/>
    <a:srgbClr val="074E84"/>
    <a:srgbClr val="053E6B"/>
    <a:srgbClr val="010717"/>
    <a:srgbClr val="000000"/>
    <a:srgbClr val="0D6FB3"/>
    <a:srgbClr val="0044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4660"/>
  </p:normalViewPr>
  <p:slideViewPr>
    <p:cSldViewPr snapToGrid="0">
      <p:cViewPr varScale="1">
        <p:scale>
          <a:sx n="86" d="100"/>
          <a:sy n="86" d="100"/>
        </p:scale>
        <p:origin x="690" y="96"/>
      </p:cViewPr>
      <p:guideLst/>
    </p:cSldViewPr>
  </p:slideViewPr>
  <p:notesTextViewPr>
    <p:cViewPr>
      <p:scale>
        <a:sx n="3" d="2"/>
        <a:sy n="3" d="2"/>
      </p:scale>
      <p:origin x="0" y="0"/>
    </p:cViewPr>
  </p:notesTextViewPr>
  <p:notesViewPr>
    <p:cSldViewPr snapToGrid="0">
      <p:cViewPr varScale="1">
        <p:scale>
          <a:sx n="89" d="100"/>
          <a:sy n="89" d="100"/>
        </p:scale>
        <p:origin x="2126" y="7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slide" Target="slides/slide37.xml"/><Relationship Id="rId50" Type="http://schemas.openxmlformats.org/officeDocument/2006/relationships/slide" Target="slides/slide40.xml"/><Relationship Id="rId55" Type="http://schemas.openxmlformats.org/officeDocument/2006/relationships/slide" Target="slides/slide45.xml"/><Relationship Id="rId63" Type="http://schemas.openxmlformats.org/officeDocument/2006/relationships/slide" Target="slides/slide53.xml"/><Relationship Id="rId68" Type="http://schemas.openxmlformats.org/officeDocument/2006/relationships/slide" Target="slides/slide58.xml"/><Relationship Id="rId76" Type="http://schemas.openxmlformats.org/officeDocument/2006/relationships/presProps" Target="presProps.xml"/><Relationship Id="rId7" Type="http://schemas.openxmlformats.org/officeDocument/2006/relationships/slideMaster" Target="slideMasters/slideMaster4.xml"/><Relationship Id="rId71" Type="http://schemas.openxmlformats.org/officeDocument/2006/relationships/slide" Target="slides/slide61.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slide" Target="slides/slide43.xml"/><Relationship Id="rId58" Type="http://schemas.openxmlformats.org/officeDocument/2006/relationships/slide" Target="slides/slide48.xml"/><Relationship Id="rId66" Type="http://schemas.openxmlformats.org/officeDocument/2006/relationships/slide" Target="slides/slide56.xml"/><Relationship Id="rId74" Type="http://schemas.openxmlformats.org/officeDocument/2006/relationships/notesMaster" Target="notesMasters/notesMaster1.xml"/><Relationship Id="rId79" Type="http://schemas.openxmlformats.org/officeDocument/2006/relationships/tableStyles" Target="tableStyles.xml"/><Relationship Id="rId5" Type="http://schemas.openxmlformats.org/officeDocument/2006/relationships/slideMaster" Target="slideMasters/slideMaster2.xml"/><Relationship Id="rId61" Type="http://schemas.openxmlformats.org/officeDocument/2006/relationships/slide" Target="slides/slide51.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slide" Target="slides/slide50.xml"/><Relationship Id="rId65" Type="http://schemas.openxmlformats.org/officeDocument/2006/relationships/slide" Target="slides/slide55.xml"/><Relationship Id="rId73" Type="http://schemas.openxmlformats.org/officeDocument/2006/relationships/slide" Target="slides/slide63.xml"/><Relationship Id="rId78"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slide" Target="slides/slide46.xml"/><Relationship Id="rId64" Type="http://schemas.openxmlformats.org/officeDocument/2006/relationships/slide" Target="slides/slide54.xml"/><Relationship Id="rId69" Type="http://schemas.openxmlformats.org/officeDocument/2006/relationships/slide" Target="slides/slide59.xml"/><Relationship Id="rId77"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slide" Target="slides/slide41.xml"/><Relationship Id="rId72" Type="http://schemas.openxmlformats.org/officeDocument/2006/relationships/slide" Target="slides/slide62.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slide" Target="slides/slide49.xml"/><Relationship Id="rId67" Type="http://schemas.openxmlformats.org/officeDocument/2006/relationships/slide" Target="slides/slide57.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slide" Target="slides/slide44.xml"/><Relationship Id="rId62" Type="http://schemas.openxmlformats.org/officeDocument/2006/relationships/slide" Target="slides/slide52.xml"/><Relationship Id="rId70" Type="http://schemas.openxmlformats.org/officeDocument/2006/relationships/slide" Target="slides/slide60.xml"/><Relationship Id="rId75"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slide" Target="slides/slide47.xml"/></Relationships>
</file>

<file path=ppt/charts/_rels/chart1.xml.rels><?xml version="1.0" encoding="UTF-8" standalone="yes"?>
<Relationships xmlns="http://schemas.openxmlformats.org/package/2006/relationships"><Relationship Id="rId1" Type="http://schemas.openxmlformats.org/officeDocument/2006/relationships/oleObject" Target="NULL" TargetMode="Externa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1"/>
          <c:order val="0"/>
          <c:tx>
            <c:strRef>
              <c:f>Sheet1!$F$1</c:f>
              <c:strCache>
                <c:ptCount val="1"/>
                <c:pt idx="0">
                  <c:v>Japan</c:v>
                </c:pt>
              </c:strCache>
            </c:strRef>
          </c:tx>
          <c:spPr>
            <a:ln>
              <a:solidFill>
                <a:srgbClr val="FFC000"/>
              </a:solidFill>
            </a:ln>
          </c:spPr>
          <c:marker>
            <c:symbol val="none"/>
          </c:marker>
          <c:cat>
            <c:numRef>
              <c:f>Sheet1!$A$2:$A$1441</c:f>
              <c:numCache>
                <c:formatCode>h:mm\ AM/PM</c:formatCode>
                <c:ptCount val="1440"/>
                <c:pt idx="0">
                  <c:v>0</c:v>
                </c:pt>
                <c:pt idx="1">
                  <c:v>6.9444444444444545E-4</c:v>
                </c:pt>
                <c:pt idx="2">
                  <c:v>1.3888888888888924E-3</c:v>
                </c:pt>
                <c:pt idx="3">
                  <c:v>2.0833333333333372E-3</c:v>
                </c:pt>
                <c:pt idx="4">
                  <c:v>2.7777777777777874E-3</c:v>
                </c:pt>
                <c:pt idx="5">
                  <c:v>3.4722222222222242E-3</c:v>
                </c:pt>
                <c:pt idx="6">
                  <c:v>4.1666666666666683E-3</c:v>
                </c:pt>
                <c:pt idx="7">
                  <c:v>4.8611111111111112E-3</c:v>
                </c:pt>
                <c:pt idx="8">
                  <c:v>5.5555555555555558E-3</c:v>
                </c:pt>
                <c:pt idx="9">
                  <c:v>6.2500000000000073E-3</c:v>
                </c:pt>
                <c:pt idx="10">
                  <c:v>6.9444444444444527E-3</c:v>
                </c:pt>
                <c:pt idx="11">
                  <c:v>7.6388888888888904E-3</c:v>
                </c:pt>
                <c:pt idx="12">
                  <c:v>8.3333333333333367E-3</c:v>
                </c:pt>
                <c:pt idx="13">
                  <c:v>9.0277777777777787E-3</c:v>
                </c:pt>
                <c:pt idx="14">
                  <c:v>9.7222222222222224E-3</c:v>
                </c:pt>
                <c:pt idx="15">
                  <c:v>1.0416666666666666E-2</c:v>
                </c:pt>
                <c:pt idx="16">
                  <c:v>1.1111111111111125E-2</c:v>
                </c:pt>
                <c:pt idx="17">
                  <c:v>1.1805555555555583E-2</c:v>
                </c:pt>
                <c:pt idx="18">
                  <c:v>1.2499999999999982E-2</c:v>
                </c:pt>
                <c:pt idx="19">
                  <c:v>1.3194444444444439E-2</c:v>
                </c:pt>
                <c:pt idx="20">
                  <c:v>1.3888888888888914E-2</c:v>
                </c:pt>
                <c:pt idx="21">
                  <c:v>1.4583333333333341E-2</c:v>
                </c:pt>
                <c:pt idx="22">
                  <c:v>1.5277777777777781E-2</c:v>
                </c:pt>
                <c:pt idx="23">
                  <c:v>1.5972222222222224E-2</c:v>
                </c:pt>
                <c:pt idx="24">
                  <c:v>1.6666666666666691E-2</c:v>
                </c:pt>
                <c:pt idx="25">
                  <c:v>1.7361111111111136E-2</c:v>
                </c:pt>
                <c:pt idx="26">
                  <c:v>1.8055555555555561E-2</c:v>
                </c:pt>
                <c:pt idx="27">
                  <c:v>1.8749999999999999E-2</c:v>
                </c:pt>
                <c:pt idx="28">
                  <c:v>1.9444444444444445E-2</c:v>
                </c:pt>
                <c:pt idx="29">
                  <c:v>2.0138888888888887E-2</c:v>
                </c:pt>
                <c:pt idx="30">
                  <c:v>2.0833333333333377E-2</c:v>
                </c:pt>
                <c:pt idx="31">
                  <c:v>2.1527777777777823E-2</c:v>
                </c:pt>
                <c:pt idx="32">
                  <c:v>2.2222222222222251E-2</c:v>
                </c:pt>
                <c:pt idx="33">
                  <c:v>2.2916666666666672E-2</c:v>
                </c:pt>
                <c:pt idx="34">
                  <c:v>2.3611111111111145E-2</c:v>
                </c:pt>
                <c:pt idx="35">
                  <c:v>2.4305555555555556E-2</c:v>
                </c:pt>
                <c:pt idx="36">
                  <c:v>2.4999999999999998E-2</c:v>
                </c:pt>
                <c:pt idx="37">
                  <c:v>2.569444444444445E-2</c:v>
                </c:pt>
                <c:pt idx="38">
                  <c:v>2.6388888888888878E-2</c:v>
                </c:pt>
                <c:pt idx="39">
                  <c:v>2.7083333333333379E-2</c:v>
                </c:pt>
                <c:pt idx="40">
                  <c:v>2.7777777777777853E-2</c:v>
                </c:pt>
                <c:pt idx="41">
                  <c:v>2.8472222222222242E-2</c:v>
                </c:pt>
                <c:pt idx="42">
                  <c:v>2.9166666666666664E-2</c:v>
                </c:pt>
                <c:pt idx="43">
                  <c:v>2.9861111111111165E-2</c:v>
                </c:pt>
                <c:pt idx="44">
                  <c:v>3.0555555555555582E-2</c:v>
                </c:pt>
                <c:pt idx="45">
                  <c:v>3.125E-2</c:v>
                </c:pt>
                <c:pt idx="46">
                  <c:v>3.1944444444444449E-2</c:v>
                </c:pt>
                <c:pt idx="47">
                  <c:v>3.2638888888888891E-2</c:v>
                </c:pt>
                <c:pt idx="48">
                  <c:v>3.333333333333334E-2</c:v>
                </c:pt>
                <c:pt idx="49">
                  <c:v>3.4027777777777823E-2</c:v>
                </c:pt>
                <c:pt idx="50">
                  <c:v>3.4722222222222224E-2</c:v>
                </c:pt>
                <c:pt idx="51">
                  <c:v>3.5416666666666666E-2</c:v>
                </c:pt>
                <c:pt idx="52">
                  <c:v>3.6111111111111163E-2</c:v>
                </c:pt>
                <c:pt idx="53">
                  <c:v>3.6805555555555612E-2</c:v>
                </c:pt>
                <c:pt idx="54">
                  <c:v>3.7500000000000006E-2</c:v>
                </c:pt>
                <c:pt idx="55">
                  <c:v>3.8194444444444441E-2</c:v>
                </c:pt>
                <c:pt idx="56">
                  <c:v>3.888888888888889E-2</c:v>
                </c:pt>
                <c:pt idx="57">
                  <c:v>3.9583333333333331E-2</c:v>
                </c:pt>
                <c:pt idx="58">
                  <c:v>4.0277777777777767E-2</c:v>
                </c:pt>
                <c:pt idx="59">
                  <c:v>4.0972222222222292E-2</c:v>
                </c:pt>
                <c:pt idx="60">
                  <c:v>4.1666666666666664E-2</c:v>
                </c:pt>
                <c:pt idx="61">
                  <c:v>4.2361111111111203E-2</c:v>
                </c:pt>
                <c:pt idx="62">
                  <c:v>4.3055555555555472E-2</c:v>
                </c:pt>
                <c:pt idx="63">
                  <c:v>4.3750000000000004E-2</c:v>
                </c:pt>
                <c:pt idx="64">
                  <c:v>4.4444444444444502E-2</c:v>
                </c:pt>
                <c:pt idx="65">
                  <c:v>4.5138888888888888E-2</c:v>
                </c:pt>
                <c:pt idx="66">
                  <c:v>4.5833333333333462E-2</c:v>
                </c:pt>
                <c:pt idx="67">
                  <c:v>4.6527777777777765E-2</c:v>
                </c:pt>
                <c:pt idx="68">
                  <c:v>4.722222222222229E-2</c:v>
                </c:pt>
                <c:pt idx="69">
                  <c:v>4.7916666666666746E-2</c:v>
                </c:pt>
                <c:pt idx="70">
                  <c:v>4.8611111111111112E-2</c:v>
                </c:pt>
                <c:pt idx="71">
                  <c:v>4.9305555555555547E-2</c:v>
                </c:pt>
                <c:pt idx="72">
                  <c:v>0.05</c:v>
                </c:pt>
                <c:pt idx="73">
                  <c:v>5.0694444444444493E-2</c:v>
                </c:pt>
                <c:pt idx="74">
                  <c:v>5.1388888888888887E-2</c:v>
                </c:pt>
                <c:pt idx="75">
                  <c:v>5.2083333333333461E-2</c:v>
                </c:pt>
                <c:pt idx="76">
                  <c:v>5.2777777777777792E-2</c:v>
                </c:pt>
                <c:pt idx="77">
                  <c:v>5.3472222222222303E-2</c:v>
                </c:pt>
                <c:pt idx="78">
                  <c:v>5.4166666666666745E-2</c:v>
                </c:pt>
                <c:pt idx="79">
                  <c:v>5.4861111111111201E-2</c:v>
                </c:pt>
                <c:pt idx="80">
                  <c:v>5.5555555555555469E-2</c:v>
                </c:pt>
                <c:pt idx="81">
                  <c:v>5.6249999999999946E-2</c:v>
                </c:pt>
                <c:pt idx="82">
                  <c:v>5.6944444444444443E-2</c:v>
                </c:pt>
                <c:pt idx="83">
                  <c:v>5.7638888888888892E-2</c:v>
                </c:pt>
                <c:pt idx="84">
                  <c:v>5.8333333333333445E-2</c:v>
                </c:pt>
                <c:pt idx="85">
                  <c:v>5.9027777777777783E-2</c:v>
                </c:pt>
                <c:pt idx="86">
                  <c:v>5.9722222222222378E-2</c:v>
                </c:pt>
                <c:pt idx="87">
                  <c:v>6.041666666666675E-2</c:v>
                </c:pt>
                <c:pt idx="88">
                  <c:v>6.1111111111111123E-2</c:v>
                </c:pt>
                <c:pt idx="89">
                  <c:v>6.1805555555555489E-2</c:v>
                </c:pt>
                <c:pt idx="90">
                  <c:v>6.25E-2</c:v>
                </c:pt>
                <c:pt idx="91">
                  <c:v>6.3194444444444484E-2</c:v>
                </c:pt>
                <c:pt idx="92">
                  <c:v>6.3888888888888884E-2</c:v>
                </c:pt>
                <c:pt idx="93">
                  <c:v>6.4583333333333492E-2</c:v>
                </c:pt>
                <c:pt idx="94">
                  <c:v>6.5277777777777782E-2</c:v>
                </c:pt>
                <c:pt idx="95">
                  <c:v>6.5972222222222224E-2</c:v>
                </c:pt>
                <c:pt idx="96">
                  <c:v>6.666666666666668E-2</c:v>
                </c:pt>
                <c:pt idx="97">
                  <c:v>6.7361111111111205E-2</c:v>
                </c:pt>
                <c:pt idx="98">
                  <c:v>6.805555555555555E-2</c:v>
                </c:pt>
                <c:pt idx="99">
                  <c:v>6.8749999999999992E-2</c:v>
                </c:pt>
                <c:pt idx="100">
                  <c:v>6.9444444444444434E-2</c:v>
                </c:pt>
                <c:pt idx="101">
                  <c:v>7.013888888888889E-2</c:v>
                </c:pt>
                <c:pt idx="102">
                  <c:v>7.0833333333333484E-2</c:v>
                </c:pt>
                <c:pt idx="103">
                  <c:v>7.1527777777777787E-2</c:v>
                </c:pt>
                <c:pt idx="104">
                  <c:v>7.2222222222222326E-2</c:v>
                </c:pt>
                <c:pt idx="105">
                  <c:v>7.2916666666666782E-2</c:v>
                </c:pt>
                <c:pt idx="106">
                  <c:v>7.3611111111111113E-2</c:v>
                </c:pt>
                <c:pt idx="107">
                  <c:v>7.4305555555555555E-2</c:v>
                </c:pt>
                <c:pt idx="108">
                  <c:v>7.5000000000000011E-2</c:v>
                </c:pt>
                <c:pt idx="109">
                  <c:v>7.5694444444444439E-2</c:v>
                </c:pt>
                <c:pt idx="110">
                  <c:v>7.6388888888888895E-2</c:v>
                </c:pt>
                <c:pt idx="111">
                  <c:v>7.7083333333333504E-2</c:v>
                </c:pt>
                <c:pt idx="112">
                  <c:v>7.7777777777777779E-2</c:v>
                </c:pt>
                <c:pt idx="113">
                  <c:v>7.8472222222222318E-2</c:v>
                </c:pt>
                <c:pt idx="114">
                  <c:v>7.9166666666666774E-2</c:v>
                </c:pt>
                <c:pt idx="115">
                  <c:v>7.9861111111111216E-2</c:v>
                </c:pt>
                <c:pt idx="116">
                  <c:v>8.0555555555555741E-2</c:v>
                </c:pt>
                <c:pt idx="117">
                  <c:v>8.1250000000000003E-2</c:v>
                </c:pt>
                <c:pt idx="118">
                  <c:v>8.1944444444444528E-2</c:v>
                </c:pt>
                <c:pt idx="119">
                  <c:v>8.2638888888889012E-2</c:v>
                </c:pt>
                <c:pt idx="120">
                  <c:v>8.3333333333333343E-2</c:v>
                </c:pt>
                <c:pt idx="121">
                  <c:v>8.4027777777777771E-2</c:v>
                </c:pt>
                <c:pt idx="122">
                  <c:v>8.4722222222222421E-2</c:v>
                </c:pt>
                <c:pt idx="123">
                  <c:v>8.5416666666666724E-2</c:v>
                </c:pt>
                <c:pt idx="124">
                  <c:v>8.6111111111110958E-2</c:v>
                </c:pt>
                <c:pt idx="125">
                  <c:v>8.6805555555555566E-2</c:v>
                </c:pt>
                <c:pt idx="126">
                  <c:v>8.7500000000000008E-2</c:v>
                </c:pt>
                <c:pt idx="127">
                  <c:v>8.8194444444444672E-2</c:v>
                </c:pt>
                <c:pt idx="128">
                  <c:v>8.8888888888889031E-2</c:v>
                </c:pt>
                <c:pt idx="129">
                  <c:v>8.9583333333333348E-2</c:v>
                </c:pt>
                <c:pt idx="130">
                  <c:v>9.0277777777777693E-2</c:v>
                </c:pt>
                <c:pt idx="131">
                  <c:v>9.0972222222222218E-2</c:v>
                </c:pt>
                <c:pt idx="132">
                  <c:v>9.1666666666666854E-2</c:v>
                </c:pt>
                <c:pt idx="133">
                  <c:v>9.2361111111110963E-2</c:v>
                </c:pt>
                <c:pt idx="134">
                  <c:v>9.3055555555555766E-2</c:v>
                </c:pt>
                <c:pt idx="135">
                  <c:v>9.3750000000000194E-2</c:v>
                </c:pt>
                <c:pt idx="136">
                  <c:v>9.4444444444444525E-2</c:v>
                </c:pt>
                <c:pt idx="137">
                  <c:v>9.5138888888888898E-2</c:v>
                </c:pt>
                <c:pt idx="138">
                  <c:v>9.5833333333333326E-2</c:v>
                </c:pt>
                <c:pt idx="139">
                  <c:v>9.6527777777777754E-2</c:v>
                </c:pt>
                <c:pt idx="140">
                  <c:v>9.7222222222222224E-2</c:v>
                </c:pt>
                <c:pt idx="141">
                  <c:v>9.7916666666666666E-2</c:v>
                </c:pt>
                <c:pt idx="142">
                  <c:v>9.861111111111108E-2</c:v>
                </c:pt>
                <c:pt idx="143">
                  <c:v>9.9305555555555564E-2</c:v>
                </c:pt>
                <c:pt idx="144">
                  <c:v>0.10000000000000003</c:v>
                </c:pt>
                <c:pt idx="145">
                  <c:v>0.10069444444444456</c:v>
                </c:pt>
                <c:pt idx="146">
                  <c:v>0.10138888888888888</c:v>
                </c:pt>
                <c:pt idx="147">
                  <c:v>0.10208333333333336</c:v>
                </c:pt>
                <c:pt idx="148">
                  <c:v>0.10277777777777779</c:v>
                </c:pt>
                <c:pt idx="149">
                  <c:v>0.10347222222222235</c:v>
                </c:pt>
                <c:pt idx="150">
                  <c:v>0.10416666666666677</c:v>
                </c:pt>
                <c:pt idx="151">
                  <c:v>0.10486111111111121</c:v>
                </c:pt>
                <c:pt idx="152">
                  <c:v>0.10555555555555562</c:v>
                </c:pt>
                <c:pt idx="153">
                  <c:v>0.10625000000000002</c:v>
                </c:pt>
                <c:pt idx="154">
                  <c:v>0.10694444444444449</c:v>
                </c:pt>
                <c:pt idx="155">
                  <c:v>0.10763888888888892</c:v>
                </c:pt>
                <c:pt idx="156">
                  <c:v>0.10833333333333336</c:v>
                </c:pt>
                <c:pt idx="157">
                  <c:v>0.10902777777777779</c:v>
                </c:pt>
                <c:pt idx="158">
                  <c:v>0.10972222222222248</c:v>
                </c:pt>
                <c:pt idx="159">
                  <c:v>0.11041666666666665</c:v>
                </c:pt>
                <c:pt idx="160">
                  <c:v>0.1111111111111111</c:v>
                </c:pt>
                <c:pt idx="161">
                  <c:v>0.11180555555555556</c:v>
                </c:pt>
                <c:pt idx="162">
                  <c:v>0.1125</c:v>
                </c:pt>
                <c:pt idx="163">
                  <c:v>0.11319444444444454</c:v>
                </c:pt>
                <c:pt idx="164">
                  <c:v>0.11388888888888885</c:v>
                </c:pt>
                <c:pt idx="165">
                  <c:v>0.11458333333333333</c:v>
                </c:pt>
                <c:pt idx="166">
                  <c:v>0.11527777777777777</c:v>
                </c:pt>
                <c:pt idx="167">
                  <c:v>0.11597222222222232</c:v>
                </c:pt>
                <c:pt idx="168">
                  <c:v>0.11666666666666672</c:v>
                </c:pt>
                <c:pt idx="169">
                  <c:v>0.11736111111111112</c:v>
                </c:pt>
                <c:pt idx="170">
                  <c:v>0.11805555555555559</c:v>
                </c:pt>
                <c:pt idx="171">
                  <c:v>0.11875000000000002</c:v>
                </c:pt>
                <c:pt idx="172">
                  <c:v>0.11944444444444446</c:v>
                </c:pt>
                <c:pt idx="173">
                  <c:v>0.12013888888888889</c:v>
                </c:pt>
                <c:pt idx="174">
                  <c:v>0.12083333333333333</c:v>
                </c:pt>
                <c:pt idx="175">
                  <c:v>0.12152777777777779</c:v>
                </c:pt>
                <c:pt idx="176">
                  <c:v>0.12222222222222248</c:v>
                </c:pt>
                <c:pt idx="177">
                  <c:v>0.12291666666666667</c:v>
                </c:pt>
                <c:pt idx="178">
                  <c:v>0.12361111111111121</c:v>
                </c:pt>
                <c:pt idx="179">
                  <c:v>0.12430555555555566</c:v>
                </c:pt>
                <c:pt idx="180">
                  <c:v>0.125</c:v>
                </c:pt>
                <c:pt idx="181">
                  <c:v>0.12569444444444444</c:v>
                </c:pt>
                <c:pt idx="182">
                  <c:v>0.12638888888888888</c:v>
                </c:pt>
                <c:pt idx="183">
                  <c:v>0.12708333333333341</c:v>
                </c:pt>
                <c:pt idx="184">
                  <c:v>0.1277777777777778</c:v>
                </c:pt>
                <c:pt idx="185">
                  <c:v>0.12847222222222224</c:v>
                </c:pt>
                <c:pt idx="186">
                  <c:v>0.12916666666666668</c:v>
                </c:pt>
                <c:pt idx="187">
                  <c:v>0.1298611111111112</c:v>
                </c:pt>
                <c:pt idx="188">
                  <c:v>0.13055555555555537</c:v>
                </c:pt>
                <c:pt idx="189">
                  <c:v>0.13125000000000001</c:v>
                </c:pt>
                <c:pt idx="190">
                  <c:v>0.13194444444444486</c:v>
                </c:pt>
                <c:pt idx="191">
                  <c:v>0.13263888888888889</c:v>
                </c:pt>
                <c:pt idx="192">
                  <c:v>0.13333333333333341</c:v>
                </c:pt>
                <c:pt idx="193">
                  <c:v>0.13402777777777777</c:v>
                </c:pt>
                <c:pt idx="194">
                  <c:v>0.13472222222222224</c:v>
                </c:pt>
                <c:pt idx="195">
                  <c:v>0.13541666666666671</c:v>
                </c:pt>
                <c:pt idx="196">
                  <c:v>0.13611111111111121</c:v>
                </c:pt>
                <c:pt idx="197">
                  <c:v>0.13680555555555537</c:v>
                </c:pt>
                <c:pt idx="198">
                  <c:v>0.13750000000000001</c:v>
                </c:pt>
                <c:pt idx="199">
                  <c:v>0.13819444444444462</c:v>
                </c:pt>
                <c:pt idx="200">
                  <c:v>0.1388888888888889</c:v>
                </c:pt>
                <c:pt idx="201">
                  <c:v>0.13958333333333353</c:v>
                </c:pt>
                <c:pt idx="202">
                  <c:v>0.14027777777777778</c:v>
                </c:pt>
                <c:pt idx="203">
                  <c:v>0.14097222222222242</c:v>
                </c:pt>
                <c:pt idx="204">
                  <c:v>0.14166666666666666</c:v>
                </c:pt>
                <c:pt idx="205">
                  <c:v>0.14236111111111124</c:v>
                </c:pt>
                <c:pt idx="206">
                  <c:v>0.14305555555555557</c:v>
                </c:pt>
                <c:pt idx="207">
                  <c:v>0.14375000000000004</c:v>
                </c:pt>
                <c:pt idx="208">
                  <c:v>0.14444444444444493</c:v>
                </c:pt>
                <c:pt idx="209">
                  <c:v>0.1451388888888889</c:v>
                </c:pt>
                <c:pt idx="210">
                  <c:v>0.14583333333333356</c:v>
                </c:pt>
                <c:pt idx="211">
                  <c:v>0.14652777777777778</c:v>
                </c:pt>
                <c:pt idx="212">
                  <c:v>0.14722222222222245</c:v>
                </c:pt>
                <c:pt idx="213">
                  <c:v>0.14791666666666689</c:v>
                </c:pt>
                <c:pt idx="214">
                  <c:v>0.14861111111111133</c:v>
                </c:pt>
                <c:pt idx="215">
                  <c:v>0.14930555555555555</c:v>
                </c:pt>
                <c:pt idx="216">
                  <c:v>0.15000000000000019</c:v>
                </c:pt>
                <c:pt idx="217">
                  <c:v>0.15069444444444474</c:v>
                </c:pt>
                <c:pt idx="218">
                  <c:v>0.15138888888888891</c:v>
                </c:pt>
                <c:pt idx="219">
                  <c:v>0.15208333333333357</c:v>
                </c:pt>
                <c:pt idx="220">
                  <c:v>0.15277777777777776</c:v>
                </c:pt>
                <c:pt idx="221">
                  <c:v>0.15347222222222248</c:v>
                </c:pt>
                <c:pt idx="222">
                  <c:v>0.1541666666666667</c:v>
                </c:pt>
                <c:pt idx="223">
                  <c:v>0.15486111111111137</c:v>
                </c:pt>
                <c:pt idx="224">
                  <c:v>0.15555555555555556</c:v>
                </c:pt>
                <c:pt idx="225">
                  <c:v>0.15625000000000022</c:v>
                </c:pt>
                <c:pt idx="226">
                  <c:v>0.15694444444444497</c:v>
                </c:pt>
                <c:pt idx="227">
                  <c:v>0.15763888888888891</c:v>
                </c:pt>
                <c:pt idx="228">
                  <c:v>0.15833333333333363</c:v>
                </c:pt>
                <c:pt idx="229">
                  <c:v>0.15902777777777791</c:v>
                </c:pt>
                <c:pt idx="230">
                  <c:v>0.15972222222222252</c:v>
                </c:pt>
                <c:pt idx="231">
                  <c:v>0.16041666666666671</c:v>
                </c:pt>
                <c:pt idx="232">
                  <c:v>0.1611111111111112</c:v>
                </c:pt>
                <c:pt idx="233">
                  <c:v>0.16180555555555537</c:v>
                </c:pt>
                <c:pt idx="234">
                  <c:v>0.16250000000000001</c:v>
                </c:pt>
                <c:pt idx="235">
                  <c:v>0.16319444444444464</c:v>
                </c:pt>
                <c:pt idx="236">
                  <c:v>0.16388888888888889</c:v>
                </c:pt>
                <c:pt idx="237">
                  <c:v>0.16458333333333341</c:v>
                </c:pt>
                <c:pt idx="238">
                  <c:v>0.16527777777777777</c:v>
                </c:pt>
                <c:pt idx="239">
                  <c:v>0.16597222222222224</c:v>
                </c:pt>
                <c:pt idx="240">
                  <c:v>0.16666666666666666</c:v>
                </c:pt>
                <c:pt idx="241">
                  <c:v>0.16736111111111121</c:v>
                </c:pt>
                <c:pt idx="242">
                  <c:v>0.16805555555555537</c:v>
                </c:pt>
                <c:pt idx="243">
                  <c:v>0.16875000000000001</c:v>
                </c:pt>
                <c:pt idx="244">
                  <c:v>0.16944444444444484</c:v>
                </c:pt>
                <c:pt idx="245">
                  <c:v>0.1701388888888889</c:v>
                </c:pt>
                <c:pt idx="246">
                  <c:v>0.1708333333333335</c:v>
                </c:pt>
                <c:pt idx="247">
                  <c:v>0.17152777777777775</c:v>
                </c:pt>
                <c:pt idx="248">
                  <c:v>0.17222222222222244</c:v>
                </c:pt>
                <c:pt idx="249">
                  <c:v>0.17291666666666689</c:v>
                </c:pt>
                <c:pt idx="250">
                  <c:v>0.17361111111111124</c:v>
                </c:pt>
                <c:pt idx="251">
                  <c:v>0.17430555555555557</c:v>
                </c:pt>
                <c:pt idx="252">
                  <c:v>0.17500000000000004</c:v>
                </c:pt>
                <c:pt idx="253">
                  <c:v>0.17569444444444474</c:v>
                </c:pt>
                <c:pt idx="254">
                  <c:v>0.1763888888888889</c:v>
                </c:pt>
                <c:pt idx="255">
                  <c:v>0.17708333333333356</c:v>
                </c:pt>
                <c:pt idx="256">
                  <c:v>0.17777777777777778</c:v>
                </c:pt>
                <c:pt idx="257">
                  <c:v>0.17847222222222245</c:v>
                </c:pt>
                <c:pt idx="258">
                  <c:v>0.1791666666666667</c:v>
                </c:pt>
                <c:pt idx="259">
                  <c:v>0.17986111111111133</c:v>
                </c:pt>
                <c:pt idx="260">
                  <c:v>0.18055555555555555</c:v>
                </c:pt>
                <c:pt idx="261">
                  <c:v>0.18125000000000019</c:v>
                </c:pt>
                <c:pt idx="262">
                  <c:v>0.18194444444444494</c:v>
                </c:pt>
                <c:pt idx="263">
                  <c:v>0.18263888888888891</c:v>
                </c:pt>
                <c:pt idx="264">
                  <c:v>0.18333333333333357</c:v>
                </c:pt>
                <c:pt idx="265">
                  <c:v>0.18402777777777779</c:v>
                </c:pt>
                <c:pt idx="266">
                  <c:v>0.18472222222222248</c:v>
                </c:pt>
                <c:pt idx="267">
                  <c:v>0.18541666666666692</c:v>
                </c:pt>
                <c:pt idx="268">
                  <c:v>0.18611111111111137</c:v>
                </c:pt>
                <c:pt idx="269">
                  <c:v>0.18680555555555556</c:v>
                </c:pt>
                <c:pt idx="270">
                  <c:v>0.18750000000000022</c:v>
                </c:pt>
                <c:pt idx="271">
                  <c:v>0.1881944444444448</c:v>
                </c:pt>
                <c:pt idx="272">
                  <c:v>0.18888888888888891</c:v>
                </c:pt>
                <c:pt idx="273">
                  <c:v>0.18958333333333363</c:v>
                </c:pt>
                <c:pt idx="274">
                  <c:v>0.19027777777777777</c:v>
                </c:pt>
                <c:pt idx="275">
                  <c:v>0.19097222222222221</c:v>
                </c:pt>
                <c:pt idx="276">
                  <c:v>0.19166666666666665</c:v>
                </c:pt>
                <c:pt idx="277">
                  <c:v>0.1923611111111112</c:v>
                </c:pt>
                <c:pt idx="278">
                  <c:v>0.19305555555555537</c:v>
                </c:pt>
                <c:pt idx="279">
                  <c:v>0.19375000000000001</c:v>
                </c:pt>
                <c:pt idx="280">
                  <c:v>0.19444444444444486</c:v>
                </c:pt>
                <c:pt idx="281">
                  <c:v>0.19513888888888889</c:v>
                </c:pt>
                <c:pt idx="282">
                  <c:v>0.19583333333333341</c:v>
                </c:pt>
                <c:pt idx="283">
                  <c:v>0.19652777777777777</c:v>
                </c:pt>
                <c:pt idx="284">
                  <c:v>0.19722222222222224</c:v>
                </c:pt>
                <c:pt idx="285">
                  <c:v>0.19791666666666671</c:v>
                </c:pt>
                <c:pt idx="286">
                  <c:v>0.19861111111111121</c:v>
                </c:pt>
                <c:pt idx="287">
                  <c:v>0.19930555555555537</c:v>
                </c:pt>
                <c:pt idx="288">
                  <c:v>0.2</c:v>
                </c:pt>
                <c:pt idx="289">
                  <c:v>0.20069444444444462</c:v>
                </c:pt>
                <c:pt idx="290">
                  <c:v>0.2013888888888889</c:v>
                </c:pt>
                <c:pt idx="291">
                  <c:v>0.2020833333333335</c:v>
                </c:pt>
                <c:pt idx="292">
                  <c:v>0.20277777777777781</c:v>
                </c:pt>
                <c:pt idx="293">
                  <c:v>0.20347222222222239</c:v>
                </c:pt>
                <c:pt idx="294">
                  <c:v>0.20416666666666669</c:v>
                </c:pt>
                <c:pt idx="295">
                  <c:v>0.20486111111111124</c:v>
                </c:pt>
                <c:pt idx="296">
                  <c:v>0.20555555555555557</c:v>
                </c:pt>
                <c:pt idx="297">
                  <c:v>0.20625000000000004</c:v>
                </c:pt>
                <c:pt idx="298">
                  <c:v>0.20694444444444493</c:v>
                </c:pt>
                <c:pt idx="299">
                  <c:v>0.2076388888888889</c:v>
                </c:pt>
                <c:pt idx="300">
                  <c:v>0.20833333333333356</c:v>
                </c:pt>
                <c:pt idx="301">
                  <c:v>0.20902777777777778</c:v>
                </c:pt>
                <c:pt idx="302">
                  <c:v>0.20972222222222245</c:v>
                </c:pt>
                <c:pt idx="303">
                  <c:v>0.21041666666666689</c:v>
                </c:pt>
                <c:pt idx="304">
                  <c:v>0.21111111111111133</c:v>
                </c:pt>
                <c:pt idx="305">
                  <c:v>0.21180555555555555</c:v>
                </c:pt>
                <c:pt idx="306">
                  <c:v>0.21250000000000019</c:v>
                </c:pt>
                <c:pt idx="307">
                  <c:v>0.21319444444444474</c:v>
                </c:pt>
                <c:pt idx="308">
                  <c:v>0.21388888888888891</c:v>
                </c:pt>
                <c:pt idx="309">
                  <c:v>0.21458333333333357</c:v>
                </c:pt>
                <c:pt idx="310">
                  <c:v>0.21527777777777779</c:v>
                </c:pt>
                <c:pt idx="311">
                  <c:v>0.21597222222222248</c:v>
                </c:pt>
                <c:pt idx="312">
                  <c:v>0.2166666666666667</c:v>
                </c:pt>
                <c:pt idx="313">
                  <c:v>0.21736111111111137</c:v>
                </c:pt>
                <c:pt idx="314">
                  <c:v>0.21805555555555556</c:v>
                </c:pt>
                <c:pt idx="315">
                  <c:v>0.21875000000000022</c:v>
                </c:pt>
                <c:pt idx="316">
                  <c:v>0.21944444444444497</c:v>
                </c:pt>
                <c:pt idx="317">
                  <c:v>0.22013888888888888</c:v>
                </c:pt>
                <c:pt idx="318">
                  <c:v>0.22083333333333341</c:v>
                </c:pt>
                <c:pt idx="319">
                  <c:v>0.22152777777777777</c:v>
                </c:pt>
                <c:pt idx="320">
                  <c:v>0.22222222222222221</c:v>
                </c:pt>
                <c:pt idx="321">
                  <c:v>0.22291666666666671</c:v>
                </c:pt>
                <c:pt idx="322">
                  <c:v>0.22361111111111109</c:v>
                </c:pt>
                <c:pt idx="323">
                  <c:v>0.22430555555555537</c:v>
                </c:pt>
                <c:pt idx="324">
                  <c:v>0.22500000000000001</c:v>
                </c:pt>
                <c:pt idx="325">
                  <c:v>0.22569444444444464</c:v>
                </c:pt>
                <c:pt idx="326">
                  <c:v>0.22638888888888889</c:v>
                </c:pt>
                <c:pt idx="327">
                  <c:v>0.22708333333333341</c:v>
                </c:pt>
                <c:pt idx="328">
                  <c:v>0.22777777777777777</c:v>
                </c:pt>
                <c:pt idx="329">
                  <c:v>0.22847222222222224</c:v>
                </c:pt>
                <c:pt idx="330">
                  <c:v>0.22916666666666666</c:v>
                </c:pt>
                <c:pt idx="331">
                  <c:v>0.22986111111111121</c:v>
                </c:pt>
                <c:pt idx="332">
                  <c:v>0.23055555555555537</c:v>
                </c:pt>
                <c:pt idx="333">
                  <c:v>0.23125000000000001</c:v>
                </c:pt>
                <c:pt idx="334">
                  <c:v>0.23194444444444484</c:v>
                </c:pt>
                <c:pt idx="335">
                  <c:v>0.2326388888888889</c:v>
                </c:pt>
                <c:pt idx="336">
                  <c:v>0.2333333333333335</c:v>
                </c:pt>
                <c:pt idx="337">
                  <c:v>0.23402777777777781</c:v>
                </c:pt>
                <c:pt idx="338">
                  <c:v>0.23472222222222239</c:v>
                </c:pt>
                <c:pt idx="339">
                  <c:v>0.23541666666666689</c:v>
                </c:pt>
                <c:pt idx="340">
                  <c:v>0.23611111111111124</c:v>
                </c:pt>
                <c:pt idx="341">
                  <c:v>0.23680555555555557</c:v>
                </c:pt>
                <c:pt idx="342">
                  <c:v>0.23750000000000004</c:v>
                </c:pt>
                <c:pt idx="343">
                  <c:v>0.23819444444444474</c:v>
                </c:pt>
                <c:pt idx="344">
                  <c:v>0.2388888888888889</c:v>
                </c:pt>
                <c:pt idx="345">
                  <c:v>0.23958333333333356</c:v>
                </c:pt>
                <c:pt idx="346">
                  <c:v>0.24027777777777778</c:v>
                </c:pt>
                <c:pt idx="347">
                  <c:v>0.24097222222222245</c:v>
                </c:pt>
                <c:pt idx="348">
                  <c:v>0.2416666666666667</c:v>
                </c:pt>
                <c:pt idx="349">
                  <c:v>0.24236111111111133</c:v>
                </c:pt>
                <c:pt idx="350">
                  <c:v>0.24305555555555555</c:v>
                </c:pt>
                <c:pt idx="351">
                  <c:v>0.24375000000000019</c:v>
                </c:pt>
                <c:pt idx="352">
                  <c:v>0.24444444444444499</c:v>
                </c:pt>
                <c:pt idx="353">
                  <c:v>0.24513888888888891</c:v>
                </c:pt>
                <c:pt idx="354">
                  <c:v>0.24583333333333357</c:v>
                </c:pt>
                <c:pt idx="355">
                  <c:v>0.24652777777777779</c:v>
                </c:pt>
                <c:pt idx="356">
                  <c:v>0.24722222222222248</c:v>
                </c:pt>
                <c:pt idx="357">
                  <c:v>0.24791666666666692</c:v>
                </c:pt>
                <c:pt idx="358">
                  <c:v>0.24861111111111137</c:v>
                </c:pt>
                <c:pt idx="359">
                  <c:v>0.24930555555555556</c:v>
                </c:pt>
                <c:pt idx="360">
                  <c:v>0.25</c:v>
                </c:pt>
                <c:pt idx="361">
                  <c:v>0.25069444444444444</c:v>
                </c:pt>
                <c:pt idx="362">
                  <c:v>0.25138888888888955</c:v>
                </c:pt>
                <c:pt idx="363">
                  <c:v>0.25208333333333333</c:v>
                </c:pt>
                <c:pt idx="364">
                  <c:v>0.25277777777777782</c:v>
                </c:pt>
                <c:pt idx="365">
                  <c:v>0.25347222222222232</c:v>
                </c:pt>
                <c:pt idx="366">
                  <c:v>0.25416666666666682</c:v>
                </c:pt>
                <c:pt idx="367">
                  <c:v>0.25486111111111109</c:v>
                </c:pt>
                <c:pt idx="368">
                  <c:v>0.25555555555555559</c:v>
                </c:pt>
                <c:pt idx="369">
                  <c:v>0.25625000000000003</c:v>
                </c:pt>
                <c:pt idx="370">
                  <c:v>0.25694444444444448</c:v>
                </c:pt>
                <c:pt idx="371">
                  <c:v>0.25763888888888892</c:v>
                </c:pt>
                <c:pt idx="372">
                  <c:v>0.25833333333333325</c:v>
                </c:pt>
                <c:pt idx="373">
                  <c:v>0.25902777777777825</c:v>
                </c:pt>
                <c:pt idx="374">
                  <c:v>0.2597222222222223</c:v>
                </c:pt>
                <c:pt idx="375">
                  <c:v>0.26041666666666713</c:v>
                </c:pt>
                <c:pt idx="376">
                  <c:v>0.26111111111111113</c:v>
                </c:pt>
                <c:pt idx="377">
                  <c:v>0.26180555555555557</c:v>
                </c:pt>
                <c:pt idx="378">
                  <c:v>0.26250000000000001</c:v>
                </c:pt>
                <c:pt idx="379">
                  <c:v>0.26319444444444445</c:v>
                </c:pt>
                <c:pt idx="380">
                  <c:v>0.26388888888888973</c:v>
                </c:pt>
                <c:pt idx="381">
                  <c:v>0.26458333333333334</c:v>
                </c:pt>
                <c:pt idx="382">
                  <c:v>0.26527777777777817</c:v>
                </c:pt>
                <c:pt idx="383">
                  <c:v>0.26597222222222261</c:v>
                </c:pt>
                <c:pt idx="384">
                  <c:v>0.26666666666666705</c:v>
                </c:pt>
                <c:pt idx="385">
                  <c:v>0.2673611111111111</c:v>
                </c:pt>
                <c:pt idx="386">
                  <c:v>0.26805555555555555</c:v>
                </c:pt>
                <c:pt idx="387">
                  <c:v>0.26875000000000004</c:v>
                </c:pt>
                <c:pt idx="388">
                  <c:v>0.26944444444444482</c:v>
                </c:pt>
                <c:pt idx="389">
                  <c:v>0.27013888888888887</c:v>
                </c:pt>
                <c:pt idx="390">
                  <c:v>0.27083333333333326</c:v>
                </c:pt>
                <c:pt idx="391">
                  <c:v>0.27152777777777837</c:v>
                </c:pt>
                <c:pt idx="392">
                  <c:v>0.27222222222222231</c:v>
                </c:pt>
                <c:pt idx="393">
                  <c:v>0.27291666666666725</c:v>
                </c:pt>
                <c:pt idx="394">
                  <c:v>0.27361111111111103</c:v>
                </c:pt>
                <c:pt idx="395">
                  <c:v>0.27430555555555552</c:v>
                </c:pt>
                <c:pt idx="396">
                  <c:v>0.27500000000000002</c:v>
                </c:pt>
                <c:pt idx="397">
                  <c:v>0.27569444444444446</c:v>
                </c:pt>
                <c:pt idx="398">
                  <c:v>0.27638888888888968</c:v>
                </c:pt>
                <c:pt idx="399">
                  <c:v>0.27708333333333335</c:v>
                </c:pt>
                <c:pt idx="400">
                  <c:v>0.27777777777777823</c:v>
                </c:pt>
                <c:pt idx="401">
                  <c:v>0.27847222222222268</c:v>
                </c:pt>
                <c:pt idx="402">
                  <c:v>0.27916666666666712</c:v>
                </c:pt>
                <c:pt idx="403">
                  <c:v>0.27986111111111112</c:v>
                </c:pt>
                <c:pt idx="404">
                  <c:v>0.28055555555555556</c:v>
                </c:pt>
                <c:pt idx="405">
                  <c:v>0.28125</c:v>
                </c:pt>
                <c:pt idx="406">
                  <c:v>0.28194444444444483</c:v>
                </c:pt>
                <c:pt idx="407">
                  <c:v>0.28263888888888888</c:v>
                </c:pt>
                <c:pt idx="408">
                  <c:v>0.28333333333333333</c:v>
                </c:pt>
                <c:pt idx="409">
                  <c:v>0.28402777777777843</c:v>
                </c:pt>
                <c:pt idx="410">
                  <c:v>0.28472222222222232</c:v>
                </c:pt>
                <c:pt idx="411">
                  <c:v>0.28541666666666737</c:v>
                </c:pt>
                <c:pt idx="412">
                  <c:v>0.28611111111111115</c:v>
                </c:pt>
                <c:pt idx="413">
                  <c:v>0.28680555555555581</c:v>
                </c:pt>
                <c:pt idx="414">
                  <c:v>0.28750000000000031</c:v>
                </c:pt>
                <c:pt idx="415">
                  <c:v>0.28819444444444448</c:v>
                </c:pt>
                <c:pt idx="416">
                  <c:v>0.28888888888888986</c:v>
                </c:pt>
                <c:pt idx="417">
                  <c:v>0.28958333333333336</c:v>
                </c:pt>
                <c:pt idx="418">
                  <c:v>0.29027777777777825</c:v>
                </c:pt>
                <c:pt idx="419">
                  <c:v>0.29097222222222274</c:v>
                </c:pt>
                <c:pt idx="420">
                  <c:v>0.29166666666666713</c:v>
                </c:pt>
                <c:pt idx="421">
                  <c:v>0.29236111111111118</c:v>
                </c:pt>
                <c:pt idx="422">
                  <c:v>0.29305555555555557</c:v>
                </c:pt>
                <c:pt idx="423">
                  <c:v>0.29375000000000001</c:v>
                </c:pt>
                <c:pt idx="424">
                  <c:v>0.2944444444444449</c:v>
                </c:pt>
                <c:pt idx="425">
                  <c:v>0.29513888888888934</c:v>
                </c:pt>
                <c:pt idx="426">
                  <c:v>0.29583333333333334</c:v>
                </c:pt>
                <c:pt idx="427">
                  <c:v>0.29652777777777856</c:v>
                </c:pt>
                <c:pt idx="428">
                  <c:v>0.29722222222222261</c:v>
                </c:pt>
                <c:pt idx="429">
                  <c:v>0.29791666666666744</c:v>
                </c:pt>
                <c:pt idx="430">
                  <c:v>0.2986111111111111</c:v>
                </c:pt>
                <c:pt idx="431">
                  <c:v>0.29930555555555582</c:v>
                </c:pt>
                <c:pt idx="432">
                  <c:v>0.30000000000000032</c:v>
                </c:pt>
                <c:pt idx="433">
                  <c:v>0.30069444444444482</c:v>
                </c:pt>
                <c:pt idx="434">
                  <c:v>0.30138888888888993</c:v>
                </c:pt>
                <c:pt idx="435">
                  <c:v>0.30208333333333331</c:v>
                </c:pt>
                <c:pt idx="436">
                  <c:v>0.30277777777777837</c:v>
                </c:pt>
                <c:pt idx="437">
                  <c:v>0.30347222222222275</c:v>
                </c:pt>
                <c:pt idx="438">
                  <c:v>0.30416666666666725</c:v>
                </c:pt>
                <c:pt idx="439">
                  <c:v>0.30486111111111108</c:v>
                </c:pt>
                <c:pt idx="440">
                  <c:v>0.30555555555555552</c:v>
                </c:pt>
                <c:pt idx="441">
                  <c:v>0.30625000000000002</c:v>
                </c:pt>
                <c:pt idx="442">
                  <c:v>0.30694444444444491</c:v>
                </c:pt>
                <c:pt idx="443">
                  <c:v>0.30763888888888941</c:v>
                </c:pt>
                <c:pt idx="444">
                  <c:v>0.30833333333333335</c:v>
                </c:pt>
                <c:pt idx="445">
                  <c:v>0.30902777777777868</c:v>
                </c:pt>
                <c:pt idx="446">
                  <c:v>0.30972222222222268</c:v>
                </c:pt>
                <c:pt idx="447">
                  <c:v>0.31041666666666751</c:v>
                </c:pt>
                <c:pt idx="448">
                  <c:v>0.31111111111111112</c:v>
                </c:pt>
                <c:pt idx="449">
                  <c:v>0.31180555555555595</c:v>
                </c:pt>
                <c:pt idx="450">
                  <c:v>0.31250000000000039</c:v>
                </c:pt>
                <c:pt idx="451">
                  <c:v>0.31319444444444483</c:v>
                </c:pt>
                <c:pt idx="452">
                  <c:v>0.31388888888888999</c:v>
                </c:pt>
                <c:pt idx="453">
                  <c:v>0.31458333333333338</c:v>
                </c:pt>
                <c:pt idx="454">
                  <c:v>0.31527777777777843</c:v>
                </c:pt>
                <c:pt idx="455">
                  <c:v>0.31597222222222288</c:v>
                </c:pt>
                <c:pt idx="456">
                  <c:v>0.31666666666666737</c:v>
                </c:pt>
                <c:pt idx="457">
                  <c:v>0.31736111111111132</c:v>
                </c:pt>
                <c:pt idx="458">
                  <c:v>0.31805555555555581</c:v>
                </c:pt>
                <c:pt idx="459">
                  <c:v>0.31875000000000031</c:v>
                </c:pt>
                <c:pt idx="460">
                  <c:v>0.31944444444444503</c:v>
                </c:pt>
                <c:pt idx="461">
                  <c:v>0.32013888888888947</c:v>
                </c:pt>
                <c:pt idx="462">
                  <c:v>0.32083333333333336</c:v>
                </c:pt>
                <c:pt idx="463">
                  <c:v>0.32152777777777863</c:v>
                </c:pt>
                <c:pt idx="464">
                  <c:v>0.32222222222222274</c:v>
                </c:pt>
                <c:pt idx="465">
                  <c:v>0.32291666666666752</c:v>
                </c:pt>
                <c:pt idx="466">
                  <c:v>0.32361111111111118</c:v>
                </c:pt>
                <c:pt idx="467">
                  <c:v>0.32430555555555601</c:v>
                </c:pt>
                <c:pt idx="468">
                  <c:v>0.32500000000000046</c:v>
                </c:pt>
                <c:pt idx="469">
                  <c:v>0.3256944444444449</c:v>
                </c:pt>
                <c:pt idx="470">
                  <c:v>0.32638888888889012</c:v>
                </c:pt>
                <c:pt idx="471">
                  <c:v>0.32708333333333373</c:v>
                </c:pt>
                <c:pt idx="472">
                  <c:v>0.32777777777777856</c:v>
                </c:pt>
                <c:pt idx="473">
                  <c:v>0.328472222222223</c:v>
                </c:pt>
                <c:pt idx="474">
                  <c:v>0.32916666666666744</c:v>
                </c:pt>
                <c:pt idx="475">
                  <c:v>0.32986111111111138</c:v>
                </c:pt>
                <c:pt idx="476">
                  <c:v>0.33055555555555582</c:v>
                </c:pt>
                <c:pt idx="477">
                  <c:v>0.33125000000000032</c:v>
                </c:pt>
                <c:pt idx="478">
                  <c:v>0.33194444444444515</c:v>
                </c:pt>
                <c:pt idx="479">
                  <c:v>0.33263888888888954</c:v>
                </c:pt>
                <c:pt idx="480">
                  <c:v>0.33333333333333331</c:v>
                </c:pt>
                <c:pt idx="481">
                  <c:v>0.33402777777777876</c:v>
                </c:pt>
                <c:pt idx="482">
                  <c:v>0.33472222222222275</c:v>
                </c:pt>
                <c:pt idx="483">
                  <c:v>0.33541666666666758</c:v>
                </c:pt>
                <c:pt idx="484">
                  <c:v>0.33611111111111108</c:v>
                </c:pt>
                <c:pt idx="485">
                  <c:v>0.33680555555555608</c:v>
                </c:pt>
                <c:pt idx="486">
                  <c:v>0.33750000000000052</c:v>
                </c:pt>
                <c:pt idx="487">
                  <c:v>0.33819444444444496</c:v>
                </c:pt>
                <c:pt idx="488">
                  <c:v>0.33888888888889002</c:v>
                </c:pt>
                <c:pt idx="489">
                  <c:v>0.33958333333333385</c:v>
                </c:pt>
                <c:pt idx="490">
                  <c:v>0.34027777777777818</c:v>
                </c:pt>
                <c:pt idx="491">
                  <c:v>0.34097222222222268</c:v>
                </c:pt>
                <c:pt idx="492">
                  <c:v>0.34166666666666706</c:v>
                </c:pt>
                <c:pt idx="493">
                  <c:v>0.34236111111111112</c:v>
                </c:pt>
                <c:pt idx="494">
                  <c:v>0.3430555555555555</c:v>
                </c:pt>
                <c:pt idx="495">
                  <c:v>0.34375</c:v>
                </c:pt>
                <c:pt idx="496">
                  <c:v>0.34444444444444489</c:v>
                </c:pt>
                <c:pt idx="497">
                  <c:v>0.34513888888888888</c:v>
                </c:pt>
                <c:pt idx="498">
                  <c:v>0.34583333333333333</c:v>
                </c:pt>
                <c:pt idx="499">
                  <c:v>0.34652777777777843</c:v>
                </c:pt>
                <c:pt idx="500">
                  <c:v>0.34722222222222232</c:v>
                </c:pt>
                <c:pt idx="501">
                  <c:v>0.34791666666666737</c:v>
                </c:pt>
                <c:pt idx="502">
                  <c:v>0.34861111111111115</c:v>
                </c:pt>
                <c:pt idx="503">
                  <c:v>0.34930555555555581</c:v>
                </c:pt>
                <c:pt idx="504">
                  <c:v>0.35000000000000031</c:v>
                </c:pt>
                <c:pt idx="505">
                  <c:v>0.35069444444444442</c:v>
                </c:pt>
                <c:pt idx="506">
                  <c:v>0.35138888888888986</c:v>
                </c:pt>
                <c:pt idx="507">
                  <c:v>0.3520833333333333</c:v>
                </c:pt>
                <c:pt idx="508">
                  <c:v>0.35277777777777825</c:v>
                </c:pt>
                <c:pt idx="509">
                  <c:v>0.35347222222222263</c:v>
                </c:pt>
                <c:pt idx="510">
                  <c:v>0.35416666666666713</c:v>
                </c:pt>
                <c:pt idx="511">
                  <c:v>0.35486111111111118</c:v>
                </c:pt>
                <c:pt idx="512">
                  <c:v>0.35555555555555557</c:v>
                </c:pt>
                <c:pt idx="513">
                  <c:v>0.35625000000000001</c:v>
                </c:pt>
                <c:pt idx="514">
                  <c:v>0.3569444444444449</c:v>
                </c:pt>
                <c:pt idx="515">
                  <c:v>0.35763888888888934</c:v>
                </c:pt>
                <c:pt idx="516">
                  <c:v>0.35833333333333334</c:v>
                </c:pt>
                <c:pt idx="517">
                  <c:v>0.35902777777777856</c:v>
                </c:pt>
                <c:pt idx="518">
                  <c:v>0.35972222222222261</c:v>
                </c:pt>
                <c:pt idx="519">
                  <c:v>0.36041666666666744</c:v>
                </c:pt>
                <c:pt idx="520">
                  <c:v>0.3611111111111111</c:v>
                </c:pt>
                <c:pt idx="521">
                  <c:v>0.36180555555555582</c:v>
                </c:pt>
                <c:pt idx="522">
                  <c:v>0.36250000000000032</c:v>
                </c:pt>
                <c:pt idx="523">
                  <c:v>0.36319444444444482</c:v>
                </c:pt>
                <c:pt idx="524">
                  <c:v>0.36388888888888993</c:v>
                </c:pt>
                <c:pt idx="525">
                  <c:v>0.36458333333333331</c:v>
                </c:pt>
                <c:pt idx="526">
                  <c:v>0.36527777777777837</c:v>
                </c:pt>
                <c:pt idx="527">
                  <c:v>0.36597222222222275</c:v>
                </c:pt>
                <c:pt idx="528">
                  <c:v>0.36666666666666725</c:v>
                </c:pt>
                <c:pt idx="529">
                  <c:v>0.36736111111111108</c:v>
                </c:pt>
                <c:pt idx="530">
                  <c:v>0.36805555555555558</c:v>
                </c:pt>
                <c:pt idx="531">
                  <c:v>0.36875000000000002</c:v>
                </c:pt>
                <c:pt idx="532">
                  <c:v>0.36944444444444496</c:v>
                </c:pt>
                <c:pt idx="533">
                  <c:v>0.37013888888888935</c:v>
                </c:pt>
                <c:pt idx="534">
                  <c:v>0.37083333333333335</c:v>
                </c:pt>
                <c:pt idx="535">
                  <c:v>0.37152777777777862</c:v>
                </c:pt>
                <c:pt idx="536">
                  <c:v>0.37222222222222268</c:v>
                </c:pt>
                <c:pt idx="537">
                  <c:v>0.37291666666666751</c:v>
                </c:pt>
                <c:pt idx="538">
                  <c:v>0.37361111111111112</c:v>
                </c:pt>
                <c:pt idx="539">
                  <c:v>0.37430555555555589</c:v>
                </c:pt>
                <c:pt idx="540">
                  <c:v>0.37500000000000039</c:v>
                </c:pt>
                <c:pt idx="541">
                  <c:v>0.37569444444444489</c:v>
                </c:pt>
                <c:pt idx="542">
                  <c:v>0.37638888888888999</c:v>
                </c:pt>
                <c:pt idx="543">
                  <c:v>0.37708333333333338</c:v>
                </c:pt>
                <c:pt idx="544">
                  <c:v>0.37777777777777843</c:v>
                </c:pt>
                <c:pt idx="545">
                  <c:v>0.37847222222222293</c:v>
                </c:pt>
                <c:pt idx="546">
                  <c:v>0.37916666666666737</c:v>
                </c:pt>
                <c:pt idx="547">
                  <c:v>0.37986111111111132</c:v>
                </c:pt>
                <c:pt idx="548">
                  <c:v>0.38055555555555581</c:v>
                </c:pt>
                <c:pt idx="549">
                  <c:v>0.38125000000000031</c:v>
                </c:pt>
                <c:pt idx="550">
                  <c:v>0.38194444444444497</c:v>
                </c:pt>
                <c:pt idx="551">
                  <c:v>0.38263888888888947</c:v>
                </c:pt>
                <c:pt idx="552">
                  <c:v>0.3833333333333333</c:v>
                </c:pt>
                <c:pt idx="553">
                  <c:v>0.38402777777777863</c:v>
                </c:pt>
                <c:pt idx="554">
                  <c:v>0.38472222222222263</c:v>
                </c:pt>
                <c:pt idx="555">
                  <c:v>0.38541666666666752</c:v>
                </c:pt>
                <c:pt idx="556">
                  <c:v>0.38611111111111118</c:v>
                </c:pt>
                <c:pt idx="557">
                  <c:v>0.38680555555555601</c:v>
                </c:pt>
                <c:pt idx="558">
                  <c:v>0.38750000000000046</c:v>
                </c:pt>
                <c:pt idx="559">
                  <c:v>0.3881944444444449</c:v>
                </c:pt>
                <c:pt idx="560">
                  <c:v>0.38888888888889012</c:v>
                </c:pt>
                <c:pt idx="561">
                  <c:v>0.38958333333333373</c:v>
                </c:pt>
                <c:pt idx="562">
                  <c:v>0.39027777777777856</c:v>
                </c:pt>
                <c:pt idx="563">
                  <c:v>0.390972222222223</c:v>
                </c:pt>
                <c:pt idx="564">
                  <c:v>0.39166666666666744</c:v>
                </c:pt>
                <c:pt idx="565">
                  <c:v>0.39236111111111138</c:v>
                </c:pt>
                <c:pt idx="566">
                  <c:v>0.39305555555555582</c:v>
                </c:pt>
                <c:pt idx="567">
                  <c:v>0.39375000000000032</c:v>
                </c:pt>
                <c:pt idx="568">
                  <c:v>0.39444444444444515</c:v>
                </c:pt>
                <c:pt idx="569">
                  <c:v>0.39513888888888954</c:v>
                </c:pt>
                <c:pt idx="570">
                  <c:v>0.39583333333333331</c:v>
                </c:pt>
                <c:pt idx="571">
                  <c:v>0.39652777777777876</c:v>
                </c:pt>
                <c:pt idx="572">
                  <c:v>0.39722222222222275</c:v>
                </c:pt>
                <c:pt idx="573">
                  <c:v>0.39791666666666758</c:v>
                </c:pt>
                <c:pt idx="574">
                  <c:v>0.39861111111111108</c:v>
                </c:pt>
                <c:pt idx="575">
                  <c:v>0.39930555555555608</c:v>
                </c:pt>
                <c:pt idx="576">
                  <c:v>0.40000000000000008</c:v>
                </c:pt>
                <c:pt idx="577">
                  <c:v>0.40069444444444446</c:v>
                </c:pt>
                <c:pt idx="578">
                  <c:v>0.40138888888888968</c:v>
                </c:pt>
                <c:pt idx="579">
                  <c:v>0.40208333333333335</c:v>
                </c:pt>
                <c:pt idx="580">
                  <c:v>0.40277777777777818</c:v>
                </c:pt>
                <c:pt idx="581">
                  <c:v>0.40347222222222268</c:v>
                </c:pt>
                <c:pt idx="582">
                  <c:v>0.40416666666666706</c:v>
                </c:pt>
                <c:pt idx="583">
                  <c:v>0.40486111111111112</c:v>
                </c:pt>
                <c:pt idx="584">
                  <c:v>0.4055555555555555</c:v>
                </c:pt>
                <c:pt idx="585">
                  <c:v>0.40625</c:v>
                </c:pt>
                <c:pt idx="586">
                  <c:v>0.40694444444444489</c:v>
                </c:pt>
                <c:pt idx="587">
                  <c:v>0.40763888888888888</c:v>
                </c:pt>
                <c:pt idx="588">
                  <c:v>0.40833333333333333</c:v>
                </c:pt>
                <c:pt idx="589">
                  <c:v>0.40902777777777843</c:v>
                </c:pt>
                <c:pt idx="590">
                  <c:v>0.40972222222222232</c:v>
                </c:pt>
                <c:pt idx="591">
                  <c:v>0.41041666666666737</c:v>
                </c:pt>
                <c:pt idx="592">
                  <c:v>0.41111111111111115</c:v>
                </c:pt>
                <c:pt idx="593">
                  <c:v>0.41180555555555581</c:v>
                </c:pt>
                <c:pt idx="594">
                  <c:v>0.41250000000000031</c:v>
                </c:pt>
                <c:pt idx="595">
                  <c:v>0.41319444444444442</c:v>
                </c:pt>
                <c:pt idx="596">
                  <c:v>0.41388888888888986</c:v>
                </c:pt>
                <c:pt idx="597">
                  <c:v>0.4145833333333333</c:v>
                </c:pt>
                <c:pt idx="598">
                  <c:v>0.41527777777777825</c:v>
                </c:pt>
                <c:pt idx="599">
                  <c:v>0.41597222222222263</c:v>
                </c:pt>
                <c:pt idx="600">
                  <c:v>0.41666666666666713</c:v>
                </c:pt>
                <c:pt idx="601">
                  <c:v>0.41736111111111118</c:v>
                </c:pt>
                <c:pt idx="602">
                  <c:v>0.41805555555555557</c:v>
                </c:pt>
                <c:pt idx="603">
                  <c:v>0.41875000000000001</c:v>
                </c:pt>
                <c:pt idx="604">
                  <c:v>0.4194444444444449</c:v>
                </c:pt>
                <c:pt idx="605">
                  <c:v>0.42013888888888934</c:v>
                </c:pt>
                <c:pt idx="606">
                  <c:v>0.42083333333333334</c:v>
                </c:pt>
                <c:pt idx="607">
                  <c:v>0.42152777777777856</c:v>
                </c:pt>
                <c:pt idx="608">
                  <c:v>0.42222222222222261</c:v>
                </c:pt>
                <c:pt idx="609">
                  <c:v>0.42291666666666744</c:v>
                </c:pt>
                <c:pt idx="610">
                  <c:v>0.4236111111111111</c:v>
                </c:pt>
                <c:pt idx="611">
                  <c:v>0.42430555555555582</c:v>
                </c:pt>
                <c:pt idx="612">
                  <c:v>0.42500000000000032</c:v>
                </c:pt>
                <c:pt idx="613">
                  <c:v>0.42569444444444482</c:v>
                </c:pt>
                <c:pt idx="614">
                  <c:v>0.42638888888888993</c:v>
                </c:pt>
                <c:pt idx="615">
                  <c:v>0.42708333333333331</c:v>
                </c:pt>
                <c:pt idx="616">
                  <c:v>0.42777777777777837</c:v>
                </c:pt>
                <c:pt idx="617">
                  <c:v>0.42847222222222275</c:v>
                </c:pt>
                <c:pt idx="618">
                  <c:v>0.42916666666666725</c:v>
                </c:pt>
                <c:pt idx="619">
                  <c:v>0.42986111111111108</c:v>
                </c:pt>
                <c:pt idx="620">
                  <c:v>0.43055555555555558</c:v>
                </c:pt>
                <c:pt idx="621">
                  <c:v>0.43125000000000002</c:v>
                </c:pt>
                <c:pt idx="622">
                  <c:v>0.43194444444444496</c:v>
                </c:pt>
                <c:pt idx="623">
                  <c:v>0.43263888888888935</c:v>
                </c:pt>
                <c:pt idx="624">
                  <c:v>0.43333333333333335</c:v>
                </c:pt>
                <c:pt idx="625">
                  <c:v>0.43402777777777862</c:v>
                </c:pt>
                <c:pt idx="626">
                  <c:v>0.43472222222222268</c:v>
                </c:pt>
                <c:pt idx="627">
                  <c:v>0.43541666666666751</c:v>
                </c:pt>
                <c:pt idx="628">
                  <c:v>0.43611111111111112</c:v>
                </c:pt>
                <c:pt idx="629">
                  <c:v>0.43680555555555589</c:v>
                </c:pt>
                <c:pt idx="630">
                  <c:v>0.43750000000000039</c:v>
                </c:pt>
                <c:pt idx="631">
                  <c:v>0.43819444444444489</c:v>
                </c:pt>
                <c:pt idx="632">
                  <c:v>0.43888888888888999</c:v>
                </c:pt>
                <c:pt idx="633">
                  <c:v>0.43958333333333338</c:v>
                </c:pt>
                <c:pt idx="634">
                  <c:v>0.44027777777777782</c:v>
                </c:pt>
                <c:pt idx="635">
                  <c:v>0.44097222222222232</c:v>
                </c:pt>
                <c:pt idx="636">
                  <c:v>0.44166666666666682</c:v>
                </c:pt>
                <c:pt idx="637">
                  <c:v>0.44236111111111115</c:v>
                </c:pt>
                <c:pt idx="638">
                  <c:v>0.44305555555555554</c:v>
                </c:pt>
                <c:pt idx="639">
                  <c:v>0.44375000000000003</c:v>
                </c:pt>
                <c:pt idx="640">
                  <c:v>0.44444444444444442</c:v>
                </c:pt>
                <c:pt idx="641">
                  <c:v>0.44513888888888892</c:v>
                </c:pt>
                <c:pt idx="642">
                  <c:v>0.44583333333333325</c:v>
                </c:pt>
                <c:pt idx="643">
                  <c:v>0.44652777777777825</c:v>
                </c:pt>
                <c:pt idx="644">
                  <c:v>0.4472222222222223</c:v>
                </c:pt>
                <c:pt idx="645">
                  <c:v>0.44791666666666713</c:v>
                </c:pt>
                <c:pt idx="646">
                  <c:v>0.44861111111111113</c:v>
                </c:pt>
                <c:pt idx="647">
                  <c:v>0.44930555555555557</c:v>
                </c:pt>
                <c:pt idx="648">
                  <c:v>0.45</c:v>
                </c:pt>
                <c:pt idx="649">
                  <c:v>0.45069444444444445</c:v>
                </c:pt>
                <c:pt idx="650">
                  <c:v>0.45138888888888973</c:v>
                </c:pt>
                <c:pt idx="651">
                  <c:v>0.45208333333333334</c:v>
                </c:pt>
                <c:pt idx="652">
                  <c:v>0.45277777777777817</c:v>
                </c:pt>
                <c:pt idx="653">
                  <c:v>0.45347222222222261</c:v>
                </c:pt>
                <c:pt idx="654">
                  <c:v>0.45416666666666705</c:v>
                </c:pt>
                <c:pt idx="655">
                  <c:v>0.4548611111111111</c:v>
                </c:pt>
                <c:pt idx="656">
                  <c:v>0.45555555555555555</c:v>
                </c:pt>
                <c:pt idx="657">
                  <c:v>0.45625000000000004</c:v>
                </c:pt>
                <c:pt idx="658">
                  <c:v>0.45694444444444482</c:v>
                </c:pt>
                <c:pt idx="659">
                  <c:v>0.45763888888888887</c:v>
                </c:pt>
                <c:pt idx="660">
                  <c:v>0.45833333333333326</c:v>
                </c:pt>
                <c:pt idx="661">
                  <c:v>0.45902777777777837</c:v>
                </c:pt>
                <c:pt idx="662">
                  <c:v>0.45972222222222231</c:v>
                </c:pt>
                <c:pt idx="663">
                  <c:v>0.46041666666666725</c:v>
                </c:pt>
                <c:pt idx="664">
                  <c:v>0.46111111111111103</c:v>
                </c:pt>
                <c:pt idx="665">
                  <c:v>0.46180555555555558</c:v>
                </c:pt>
                <c:pt idx="666">
                  <c:v>0.46250000000000002</c:v>
                </c:pt>
                <c:pt idx="667">
                  <c:v>0.46319444444444446</c:v>
                </c:pt>
                <c:pt idx="668">
                  <c:v>0.46388888888888968</c:v>
                </c:pt>
                <c:pt idx="669">
                  <c:v>0.46458333333333335</c:v>
                </c:pt>
                <c:pt idx="670">
                  <c:v>0.46527777777777818</c:v>
                </c:pt>
                <c:pt idx="671">
                  <c:v>0.46597222222222268</c:v>
                </c:pt>
                <c:pt idx="672">
                  <c:v>0.46666666666666706</c:v>
                </c:pt>
                <c:pt idx="673">
                  <c:v>0.46736111111111112</c:v>
                </c:pt>
                <c:pt idx="674">
                  <c:v>0.4680555555555555</c:v>
                </c:pt>
                <c:pt idx="675">
                  <c:v>0.46875</c:v>
                </c:pt>
                <c:pt idx="676">
                  <c:v>0.46944444444444489</c:v>
                </c:pt>
                <c:pt idx="677">
                  <c:v>0.47013888888888888</c:v>
                </c:pt>
                <c:pt idx="678">
                  <c:v>0.47083333333333333</c:v>
                </c:pt>
                <c:pt idx="679">
                  <c:v>0.47152777777777843</c:v>
                </c:pt>
                <c:pt idx="680">
                  <c:v>0.47222222222222232</c:v>
                </c:pt>
                <c:pt idx="681">
                  <c:v>0.47291666666666737</c:v>
                </c:pt>
                <c:pt idx="682">
                  <c:v>0.47361111111111115</c:v>
                </c:pt>
                <c:pt idx="683">
                  <c:v>0.47430555555555581</c:v>
                </c:pt>
                <c:pt idx="684">
                  <c:v>0.47500000000000031</c:v>
                </c:pt>
                <c:pt idx="685">
                  <c:v>0.47569444444444442</c:v>
                </c:pt>
                <c:pt idx="686">
                  <c:v>0.47638888888888986</c:v>
                </c:pt>
                <c:pt idx="687">
                  <c:v>0.4770833333333333</c:v>
                </c:pt>
                <c:pt idx="688">
                  <c:v>0.47777777777777825</c:v>
                </c:pt>
                <c:pt idx="689">
                  <c:v>0.47847222222222263</c:v>
                </c:pt>
                <c:pt idx="690">
                  <c:v>0.47916666666666713</c:v>
                </c:pt>
                <c:pt idx="691">
                  <c:v>0.47986111111111118</c:v>
                </c:pt>
                <c:pt idx="692">
                  <c:v>0.48055555555555557</c:v>
                </c:pt>
                <c:pt idx="693">
                  <c:v>0.48125000000000001</c:v>
                </c:pt>
                <c:pt idx="694">
                  <c:v>0.4819444444444449</c:v>
                </c:pt>
                <c:pt idx="695">
                  <c:v>0.48263888888888934</c:v>
                </c:pt>
                <c:pt idx="696">
                  <c:v>0.48333333333333334</c:v>
                </c:pt>
                <c:pt idx="697">
                  <c:v>0.48402777777777856</c:v>
                </c:pt>
                <c:pt idx="698">
                  <c:v>0.48472222222222261</c:v>
                </c:pt>
                <c:pt idx="699">
                  <c:v>0.48541666666666744</c:v>
                </c:pt>
                <c:pt idx="700">
                  <c:v>0.4861111111111111</c:v>
                </c:pt>
                <c:pt idx="701">
                  <c:v>0.48680555555555582</c:v>
                </c:pt>
                <c:pt idx="702">
                  <c:v>0.48750000000000032</c:v>
                </c:pt>
                <c:pt idx="703">
                  <c:v>0.48819444444444482</c:v>
                </c:pt>
                <c:pt idx="704">
                  <c:v>0.48888888888888993</c:v>
                </c:pt>
                <c:pt idx="705">
                  <c:v>0.48958333333333331</c:v>
                </c:pt>
                <c:pt idx="706">
                  <c:v>0.49027777777777837</c:v>
                </c:pt>
                <c:pt idx="707">
                  <c:v>0.49097222222222275</c:v>
                </c:pt>
                <c:pt idx="708">
                  <c:v>0.49166666666666725</c:v>
                </c:pt>
                <c:pt idx="709">
                  <c:v>0.49236111111111108</c:v>
                </c:pt>
                <c:pt idx="710">
                  <c:v>0.49305555555555558</c:v>
                </c:pt>
                <c:pt idx="711">
                  <c:v>0.49375000000000002</c:v>
                </c:pt>
                <c:pt idx="712">
                  <c:v>0.49444444444444496</c:v>
                </c:pt>
                <c:pt idx="713">
                  <c:v>0.49513888888888935</c:v>
                </c:pt>
                <c:pt idx="714">
                  <c:v>0.49583333333333335</c:v>
                </c:pt>
                <c:pt idx="715">
                  <c:v>0.49652777777777862</c:v>
                </c:pt>
                <c:pt idx="716">
                  <c:v>0.49722222222222268</c:v>
                </c:pt>
                <c:pt idx="717">
                  <c:v>0.49791666666666751</c:v>
                </c:pt>
                <c:pt idx="718">
                  <c:v>0.49861111111111112</c:v>
                </c:pt>
                <c:pt idx="719">
                  <c:v>0.49930555555555589</c:v>
                </c:pt>
                <c:pt idx="720">
                  <c:v>0.5</c:v>
                </c:pt>
                <c:pt idx="721">
                  <c:v>0.50069444444444522</c:v>
                </c:pt>
                <c:pt idx="722">
                  <c:v>0.50138888888888888</c:v>
                </c:pt>
                <c:pt idx="723">
                  <c:v>0.50208333333333333</c:v>
                </c:pt>
                <c:pt idx="724">
                  <c:v>0.50277777777777777</c:v>
                </c:pt>
                <c:pt idx="725">
                  <c:v>0.50347222222222132</c:v>
                </c:pt>
                <c:pt idx="726">
                  <c:v>0.50416666666666576</c:v>
                </c:pt>
                <c:pt idx="727">
                  <c:v>0.50486111111111109</c:v>
                </c:pt>
                <c:pt idx="728">
                  <c:v>0.50555555555555554</c:v>
                </c:pt>
                <c:pt idx="729">
                  <c:v>0.50624999999999998</c:v>
                </c:pt>
                <c:pt idx="730">
                  <c:v>0.50694444444444464</c:v>
                </c:pt>
                <c:pt idx="731">
                  <c:v>0.50763888888888964</c:v>
                </c:pt>
                <c:pt idx="732">
                  <c:v>0.5083333333333333</c:v>
                </c:pt>
                <c:pt idx="733">
                  <c:v>0.50902777777777752</c:v>
                </c:pt>
                <c:pt idx="734">
                  <c:v>0.50972222222222219</c:v>
                </c:pt>
                <c:pt idx="735">
                  <c:v>0.51041666666666563</c:v>
                </c:pt>
                <c:pt idx="736">
                  <c:v>0.51111111111111118</c:v>
                </c:pt>
                <c:pt idx="737">
                  <c:v>0.51180555555555562</c:v>
                </c:pt>
                <c:pt idx="738">
                  <c:v>0.51250000000000007</c:v>
                </c:pt>
                <c:pt idx="739">
                  <c:v>0.51319444444444462</c:v>
                </c:pt>
                <c:pt idx="740">
                  <c:v>0.51388888888888895</c:v>
                </c:pt>
                <c:pt idx="741">
                  <c:v>0.51458333333333328</c:v>
                </c:pt>
                <c:pt idx="742">
                  <c:v>0.5152777777777775</c:v>
                </c:pt>
                <c:pt idx="743">
                  <c:v>0.51597222222222217</c:v>
                </c:pt>
                <c:pt idx="744">
                  <c:v>0.5166666666666665</c:v>
                </c:pt>
                <c:pt idx="745">
                  <c:v>0.51736111111111049</c:v>
                </c:pt>
                <c:pt idx="746">
                  <c:v>0.5180555555555556</c:v>
                </c:pt>
                <c:pt idx="747">
                  <c:v>0.51874999999999993</c:v>
                </c:pt>
                <c:pt idx="748">
                  <c:v>0.5194444444444446</c:v>
                </c:pt>
                <c:pt idx="749">
                  <c:v>0.52013888888888882</c:v>
                </c:pt>
                <c:pt idx="750">
                  <c:v>0.5208333333333337</c:v>
                </c:pt>
                <c:pt idx="751">
                  <c:v>0.52152777777777759</c:v>
                </c:pt>
                <c:pt idx="752">
                  <c:v>0.52222222222222159</c:v>
                </c:pt>
                <c:pt idx="753">
                  <c:v>0.52291666666666659</c:v>
                </c:pt>
                <c:pt idx="754">
                  <c:v>0.52361111111111114</c:v>
                </c:pt>
                <c:pt idx="755">
                  <c:v>0.52430555555555569</c:v>
                </c:pt>
                <c:pt idx="756">
                  <c:v>0.52500000000000002</c:v>
                </c:pt>
                <c:pt idx="757">
                  <c:v>0.52569444444444535</c:v>
                </c:pt>
                <c:pt idx="758">
                  <c:v>0.52638888888888891</c:v>
                </c:pt>
                <c:pt idx="759">
                  <c:v>0.52708333333333335</c:v>
                </c:pt>
                <c:pt idx="760">
                  <c:v>0.52777777777777779</c:v>
                </c:pt>
                <c:pt idx="761">
                  <c:v>0.52847222222222157</c:v>
                </c:pt>
                <c:pt idx="762">
                  <c:v>0.52916666666666656</c:v>
                </c:pt>
                <c:pt idx="763">
                  <c:v>0.52986111111111112</c:v>
                </c:pt>
                <c:pt idx="764">
                  <c:v>0.53055555555555567</c:v>
                </c:pt>
                <c:pt idx="765">
                  <c:v>0.53125</c:v>
                </c:pt>
                <c:pt idx="766">
                  <c:v>0.53194444444444522</c:v>
                </c:pt>
                <c:pt idx="767">
                  <c:v>0.53263888888888966</c:v>
                </c:pt>
                <c:pt idx="768">
                  <c:v>0.53333333333333333</c:v>
                </c:pt>
                <c:pt idx="769">
                  <c:v>0.53402777777777777</c:v>
                </c:pt>
                <c:pt idx="770">
                  <c:v>0.53472222222222221</c:v>
                </c:pt>
                <c:pt idx="771">
                  <c:v>0.53541666666666576</c:v>
                </c:pt>
                <c:pt idx="772">
                  <c:v>0.53611111111111109</c:v>
                </c:pt>
                <c:pt idx="773">
                  <c:v>0.53680555555555565</c:v>
                </c:pt>
                <c:pt idx="774">
                  <c:v>0.53749999999999998</c:v>
                </c:pt>
                <c:pt idx="775">
                  <c:v>0.53819444444444464</c:v>
                </c:pt>
                <c:pt idx="776">
                  <c:v>0.53888888888888964</c:v>
                </c:pt>
                <c:pt idx="777">
                  <c:v>0.5395833333333333</c:v>
                </c:pt>
                <c:pt idx="778">
                  <c:v>0.54027777777777752</c:v>
                </c:pt>
                <c:pt idx="779">
                  <c:v>0.54097222222222219</c:v>
                </c:pt>
                <c:pt idx="780">
                  <c:v>0.54166666666666652</c:v>
                </c:pt>
                <c:pt idx="781">
                  <c:v>0.54236111111111118</c:v>
                </c:pt>
                <c:pt idx="782">
                  <c:v>0.54305555555555562</c:v>
                </c:pt>
                <c:pt idx="783">
                  <c:v>0.54375000000000062</c:v>
                </c:pt>
                <c:pt idx="784">
                  <c:v>0.54444444444444462</c:v>
                </c:pt>
                <c:pt idx="785">
                  <c:v>0.54513888888888895</c:v>
                </c:pt>
                <c:pt idx="786">
                  <c:v>0.54583333333333361</c:v>
                </c:pt>
                <c:pt idx="787">
                  <c:v>0.5465277777777775</c:v>
                </c:pt>
                <c:pt idx="788">
                  <c:v>0.54722222222222217</c:v>
                </c:pt>
                <c:pt idx="789">
                  <c:v>0.5479166666666665</c:v>
                </c:pt>
                <c:pt idx="790">
                  <c:v>0.54861111111111105</c:v>
                </c:pt>
                <c:pt idx="791">
                  <c:v>0.5493055555555556</c:v>
                </c:pt>
                <c:pt idx="792">
                  <c:v>0.54999999999999993</c:v>
                </c:pt>
                <c:pt idx="793">
                  <c:v>0.55069444444444549</c:v>
                </c:pt>
                <c:pt idx="794">
                  <c:v>0.55138888888888882</c:v>
                </c:pt>
                <c:pt idx="795">
                  <c:v>0.5520833333333337</c:v>
                </c:pt>
                <c:pt idx="796">
                  <c:v>0.55277777777777781</c:v>
                </c:pt>
                <c:pt idx="797">
                  <c:v>0.55347222222222159</c:v>
                </c:pt>
                <c:pt idx="798">
                  <c:v>0.55416666666666659</c:v>
                </c:pt>
                <c:pt idx="799">
                  <c:v>0.55486111111111114</c:v>
                </c:pt>
                <c:pt idx="800">
                  <c:v>0.55555555555555569</c:v>
                </c:pt>
                <c:pt idx="801">
                  <c:v>0.55625000000000002</c:v>
                </c:pt>
                <c:pt idx="802">
                  <c:v>0.55694444444444535</c:v>
                </c:pt>
                <c:pt idx="803">
                  <c:v>0.55763888888888979</c:v>
                </c:pt>
                <c:pt idx="804">
                  <c:v>0.55833333333333335</c:v>
                </c:pt>
                <c:pt idx="805">
                  <c:v>0.55902777777777779</c:v>
                </c:pt>
                <c:pt idx="806">
                  <c:v>0.55972222222222223</c:v>
                </c:pt>
                <c:pt idx="807">
                  <c:v>0.56041666666666656</c:v>
                </c:pt>
                <c:pt idx="808">
                  <c:v>0.56111111111111112</c:v>
                </c:pt>
                <c:pt idx="809">
                  <c:v>0.56180555555555645</c:v>
                </c:pt>
                <c:pt idx="810">
                  <c:v>0.5625</c:v>
                </c:pt>
                <c:pt idx="811">
                  <c:v>0.56319444444444522</c:v>
                </c:pt>
                <c:pt idx="812">
                  <c:v>0.56388888888888966</c:v>
                </c:pt>
                <c:pt idx="813">
                  <c:v>0.56458333333333333</c:v>
                </c:pt>
                <c:pt idx="814">
                  <c:v>0.56527777777777777</c:v>
                </c:pt>
                <c:pt idx="815">
                  <c:v>0.56597222222222221</c:v>
                </c:pt>
                <c:pt idx="816">
                  <c:v>0.56666666666666654</c:v>
                </c:pt>
                <c:pt idx="817">
                  <c:v>0.56736111111111109</c:v>
                </c:pt>
                <c:pt idx="818">
                  <c:v>0.56805555555555565</c:v>
                </c:pt>
                <c:pt idx="819">
                  <c:v>0.56875000000000064</c:v>
                </c:pt>
                <c:pt idx="820">
                  <c:v>0.56944444444444464</c:v>
                </c:pt>
                <c:pt idx="821">
                  <c:v>0.57013888888888964</c:v>
                </c:pt>
                <c:pt idx="822">
                  <c:v>0.57083333333333364</c:v>
                </c:pt>
                <c:pt idx="823">
                  <c:v>0.57152777777777752</c:v>
                </c:pt>
                <c:pt idx="824">
                  <c:v>0.57222222222222219</c:v>
                </c:pt>
                <c:pt idx="825">
                  <c:v>0.57291666666666652</c:v>
                </c:pt>
                <c:pt idx="826">
                  <c:v>0.57361111111111163</c:v>
                </c:pt>
                <c:pt idx="827">
                  <c:v>0.57430555555555562</c:v>
                </c:pt>
                <c:pt idx="828">
                  <c:v>0.57500000000000062</c:v>
                </c:pt>
                <c:pt idx="829">
                  <c:v>0.57569444444444551</c:v>
                </c:pt>
                <c:pt idx="830">
                  <c:v>0.57638888888888895</c:v>
                </c:pt>
                <c:pt idx="831">
                  <c:v>0.57708333333333361</c:v>
                </c:pt>
                <c:pt idx="832">
                  <c:v>0.57777777777777783</c:v>
                </c:pt>
                <c:pt idx="833">
                  <c:v>0.57847222222222217</c:v>
                </c:pt>
                <c:pt idx="834">
                  <c:v>0.5791666666666665</c:v>
                </c:pt>
                <c:pt idx="835">
                  <c:v>0.57986111111111105</c:v>
                </c:pt>
                <c:pt idx="836">
                  <c:v>0.58055555555555549</c:v>
                </c:pt>
                <c:pt idx="837">
                  <c:v>0.58124999999999949</c:v>
                </c:pt>
                <c:pt idx="838">
                  <c:v>0.5819444444444446</c:v>
                </c:pt>
                <c:pt idx="839">
                  <c:v>0.58263888888888882</c:v>
                </c:pt>
                <c:pt idx="840">
                  <c:v>0.58333333333333337</c:v>
                </c:pt>
                <c:pt idx="841">
                  <c:v>0.58402777777777759</c:v>
                </c:pt>
                <c:pt idx="842">
                  <c:v>0.58472222222222159</c:v>
                </c:pt>
                <c:pt idx="843">
                  <c:v>0.58541666666666548</c:v>
                </c:pt>
                <c:pt idx="844">
                  <c:v>0.58611111111111058</c:v>
                </c:pt>
                <c:pt idx="845">
                  <c:v>0.58680555555555569</c:v>
                </c:pt>
                <c:pt idx="846">
                  <c:v>0.58749999999999958</c:v>
                </c:pt>
                <c:pt idx="847">
                  <c:v>0.58819444444444469</c:v>
                </c:pt>
                <c:pt idx="848">
                  <c:v>0.58888888888888891</c:v>
                </c:pt>
                <c:pt idx="849">
                  <c:v>0.58958333333333257</c:v>
                </c:pt>
                <c:pt idx="850">
                  <c:v>0.59027777777777757</c:v>
                </c:pt>
                <c:pt idx="851">
                  <c:v>0.59097222222222157</c:v>
                </c:pt>
                <c:pt idx="852">
                  <c:v>0.59166666666666656</c:v>
                </c:pt>
                <c:pt idx="853">
                  <c:v>0.59236111111111056</c:v>
                </c:pt>
                <c:pt idx="854">
                  <c:v>0.59305555555555567</c:v>
                </c:pt>
                <c:pt idx="855">
                  <c:v>0.59375</c:v>
                </c:pt>
                <c:pt idx="856">
                  <c:v>0.59444444444444444</c:v>
                </c:pt>
                <c:pt idx="857">
                  <c:v>0.59513888888888888</c:v>
                </c:pt>
                <c:pt idx="858">
                  <c:v>0.59583333333333333</c:v>
                </c:pt>
                <c:pt idx="859">
                  <c:v>0.59652777777777699</c:v>
                </c:pt>
                <c:pt idx="860">
                  <c:v>0.59722222222222132</c:v>
                </c:pt>
                <c:pt idx="861">
                  <c:v>0.59791666666666576</c:v>
                </c:pt>
                <c:pt idx="862">
                  <c:v>0.59861111111111109</c:v>
                </c:pt>
                <c:pt idx="863">
                  <c:v>0.59930555555555554</c:v>
                </c:pt>
                <c:pt idx="864">
                  <c:v>0.60000000000000064</c:v>
                </c:pt>
                <c:pt idx="865">
                  <c:v>0.60069444444444575</c:v>
                </c:pt>
                <c:pt idx="866">
                  <c:v>0.60138888888888964</c:v>
                </c:pt>
                <c:pt idx="867">
                  <c:v>0.60208333333333364</c:v>
                </c:pt>
                <c:pt idx="868">
                  <c:v>0.60277777777777775</c:v>
                </c:pt>
                <c:pt idx="869">
                  <c:v>0.60347222222222219</c:v>
                </c:pt>
                <c:pt idx="870">
                  <c:v>0.60416666666666652</c:v>
                </c:pt>
                <c:pt idx="871">
                  <c:v>0.60486111111111163</c:v>
                </c:pt>
                <c:pt idx="872">
                  <c:v>0.60555555555555562</c:v>
                </c:pt>
                <c:pt idx="873">
                  <c:v>0.60625000000000062</c:v>
                </c:pt>
                <c:pt idx="874">
                  <c:v>0.60694444444444551</c:v>
                </c:pt>
                <c:pt idx="875">
                  <c:v>0.60763888888889006</c:v>
                </c:pt>
                <c:pt idx="876">
                  <c:v>0.60833333333333361</c:v>
                </c:pt>
                <c:pt idx="877">
                  <c:v>0.60902777777777783</c:v>
                </c:pt>
                <c:pt idx="878">
                  <c:v>0.60972222222222261</c:v>
                </c:pt>
                <c:pt idx="879">
                  <c:v>0.6104166666666665</c:v>
                </c:pt>
                <c:pt idx="880">
                  <c:v>0.61111111111111105</c:v>
                </c:pt>
                <c:pt idx="881">
                  <c:v>0.6118055555555566</c:v>
                </c:pt>
                <c:pt idx="882">
                  <c:v>0.61249999999999993</c:v>
                </c:pt>
                <c:pt idx="883">
                  <c:v>0.61319444444444549</c:v>
                </c:pt>
                <c:pt idx="884">
                  <c:v>0.61388888888888982</c:v>
                </c:pt>
                <c:pt idx="885">
                  <c:v>0.6145833333333337</c:v>
                </c:pt>
                <c:pt idx="886">
                  <c:v>0.61527777777777781</c:v>
                </c:pt>
                <c:pt idx="887">
                  <c:v>0.61597222222222225</c:v>
                </c:pt>
                <c:pt idx="888">
                  <c:v>0.6166666666666667</c:v>
                </c:pt>
                <c:pt idx="889">
                  <c:v>0.61736111111111114</c:v>
                </c:pt>
                <c:pt idx="890">
                  <c:v>0.61805555555555658</c:v>
                </c:pt>
                <c:pt idx="891">
                  <c:v>0.61875000000000102</c:v>
                </c:pt>
                <c:pt idx="892">
                  <c:v>0.61944444444444535</c:v>
                </c:pt>
                <c:pt idx="893">
                  <c:v>0.62013888888888979</c:v>
                </c:pt>
                <c:pt idx="894">
                  <c:v>0.62083333333333424</c:v>
                </c:pt>
                <c:pt idx="895">
                  <c:v>0.62152777777777779</c:v>
                </c:pt>
                <c:pt idx="896">
                  <c:v>0.62222222222222223</c:v>
                </c:pt>
                <c:pt idx="897">
                  <c:v>0.62291666666666667</c:v>
                </c:pt>
                <c:pt idx="898">
                  <c:v>0.623611111111112</c:v>
                </c:pt>
                <c:pt idx="899">
                  <c:v>0.62430555555555645</c:v>
                </c:pt>
                <c:pt idx="900">
                  <c:v>0.62500000000000089</c:v>
                </c:pt>
                <c:pt idx="901">
                  <c:v>0.625694444444446</c:v>
                </c:pt>
                <c:pt idx="902">
                  <c:v>0.62638888888888966</c:v>
                </c:pt>
                <c:pt idx="903">
                  <c:v>0.6270833333333341</c:v>
                </c:pt>
                <c:pt idx="904">
                  <c:v>0.62777777777777855</c:v>
                </c:pt>
                <c:pt idx="905">
                  <c:v>0.62847222222222221</c:v>
                </c:pt>
                <c:pt idx="906">
                  <c:v>0.62916666666666654</c:v>
                </c:pt>
                <c:pt idx="907">
                  <c:v>0.62986111111111165</c:v>
                </c:pt>
                <c:pt idx="908">
                  <c:v>0.63055555555555565</c:v>
                </c:pt>
                <c:pt idx="909">
                  <c:v>0.63125000000000064</c:v>
                </c:pt>
                <c:pt idx="910">
                  <c:v>0.63194444444444575</c:v>
                </c:pt>
                <c:pt idx="911">
                  <c:v>0.63263888888889031</c:v>
                </c:pt>
                <c:pt idx="912">
                  <c:v>0.63333333333333364</c:v>
                </c:pt>
                <c:pt idx="913">
                  <c:v>0.63402777777777775</c:v>
                </c:pt>
                <c:pt idx="914">
                  <c:v>0.63472222222222263</c:v>
                </c:pt>
                <c:pt idx="915">
                  <c:v>0.63541666666666652</c:v>
                </c:pt>
                <c:pt idx="916">
                  <c:v>0.63611111111111163</c:v>
                </c:pt>
                <c:pt idx="917">
                  <c:v>0.63680555555555673</c:v>
                </c:pt>
                <c:pt idx="918">
                  <c:v>0.63750000000000062</c:v>
                </c:pt>
                <c:pt idx="919">
                  <c:v>0.63819444444444551</c:v>
                </c:pt>
                <c:pt idx="920">
                  <c:v>0.63888888888889006</c:v>
                </c:pt>
                <c:pt idx="921">
                  <c:v>0.63958333333333361</c:v>
                </c:pt>
                <c:pt idx="922">
                  <c:v>0.64027777777777783</c:v>
                </c:pt>
                <c:pt idx="923">
                  <c:v>0.64097222222222261</c:v>
                </c:pt>
                <c:pt idx="924">
                  <c:v>0.64166666666666672</c:v>
                </c:pt>
                <c:pt idx="925">
                  <c:v>0.64236111111111105</c:v>
                </c:pt>
                <c:pt idx="926">
                  <c:v>0.6430555555555566</c:v>
                </c:pt>
                <c:pt idx="927">
                  <c:v>0.64375000000000093</c:v>
                </c:pt>
                <c:pt idx="928">
                  <c:v>0.64444444444444549</c:v>
                </c:pt>
                <c:pt idx="929">
                  <c:v>0.64513888888888982</c:v>
                </c:pt>
                <c:pt idx="930">
                  <c:v>0.64583333333333448</c:v>
                </c:pt>
                <c:pt idx="931">
                  <c:v>0.64652777777777781</c:v>
                </c:pt>
                <c:pt idx="932">
                  <c:v>0.64722222222222225</c:v>
                </c:pt>
                <c:pt idx="933">
                  <c:v>0.6479166666666667</c:v>
                </c:pt>
                <c:pt idx="934">
                  <c:v>0.64861111111111214</c:v>
                </c:pt>
                <c:pt idx="935">
                  <c:v>0.64930555555555658</c:v>
                </c:pt>
                <c:pt idx="936">
                  <c:v>0.65000000000000102</c:v>
                </c:pt>
                <c:pt idx="937">
                  <c:v>0.65069444444444624</c:v>
                </c:pt>
                <c:pt idx="938">
                  <c:v>0.65138888888888979</c:v>
                </c:pt>
                <c:pt idx="939">
                  <c:v>0.65208333333333424</c:v>
                </c:pt>
                <c:pt idx="940">
                  <c:v>0.65277777777777868</c:v>
                </c:pt>
                <c:pt idx="941">
                  <c:v>0.65347222222222223</c:v>
                </c:pt>
                <c:pt idx="942">
                  <c:v>0.65416666666666667</c:v>
                </c:pt>
                <c:pt idx="943">
                  <c:v>0.654861111111112</c:v>
                </c:pt>
                <c:pt idx="944">
                  <c:v>0.65555555555555645</c:v>
                </c:pt>
                <c:pt idx="945">
                  <c:v>0.65625000000000089</c:v>
                </c:pt>
                <c:pt idx="946">
                  <c:v>0.656944444444446</c:v>
                </c:pt>
                <c:pt idx="947">
                  <c:v>0.65763888888889044</c:v>
                </c:pt>
                <c:pt idx="948">
                  <c:v>0.6583333333333341</c:v>
                </c:pt>
                <c:pt idx="949">
                  <c:v>0.65902777777777855</c:v>
                </c:pt>
                <c:pt idx="950">
                  <c:v>0.65972222222222265</c:v>
                </c:pt>
                <c:pt idx="951">
                  <c:v>0.66041666666666654</c:v>
                </c:pt>
                <c:pt idx="952">
                  <c:v>0.66111111111111165</c:v>
                </c:pt>
                <c:pt idx="953">
                  <c:v>0.66180555555555698</c:v>
                </c:pt>
                <c:pt idx="954">
                  <c:v>0.66250000000000064</c:v>
                </c:pt>
                <c:pt idx="955">
                  <c:v>0.66319444444444575</c:v>
                </c:pt>
                <c:pt idx="956">
                  <c:v>0.66388888888889031</c:v>
                </c:pt>
                <c:pt idx="957">
                  <c:v>0.66458333333333364</c:v>
                </c:pt>
                <c:pt idx="958">
                  <c:v>0.66527777777777775</c:v>
                </c:pt>
                <c:pt idx="959">
                  <c:v>0.66597222222222263</c:v>
                </c:pt>
                <c:pt idx="960">
                  <c:v>0.66666666666666663</c:v>
                </c:pt>
                <c:pt idx="961">
                  <c:v>0.66736111111111163</c:v>
                </c:pt>
                <c:pt idx="962">
                  <c:v>0.66805555555555673</c:v>
                </c:pt>
                <c:pt idx="963">
                  <c:v>0.66875000000000129</c:v>
                </c:pt>
                <c:pt idx="964">
                  <c:v>0.66944444444444551</c:v>
                </c:pt>
                <c:pt idx="965">
                  <c:v>0.67013888888888995</c:v>
                </c:pt>
                <c:pt idx="966">
                  <c:v>0.6708333333333345</c:v>
                </c:pt>
                <c:pt idx="967">
                  <c:v>0.67152777777777783</c:v>
                </c:pt>
                <c:pt idx="968">
                  <c:v>0.67222222222222261</c:v>
                </c:pt>
                <c:pt idx="969">
                  <c:v>0.67291666666666661</c:v>
                </c:pt>
                <c:pt idx="970">
                  <c:v>0.67361111111111216</c:v>
                </c:pt>
                <c:pt idx="971">
                  <c:v>0.6743055555555566</c:v>
                </c:pt>
                <c:pt idx="972">
                  <c:v>0.67500000000000093</c:v>
                </c:pt>
                <c:pt idx="973">
                  <c:v>0.67569444444444615</c:v>
                </c:pt>
                <c:pt idx="974">
                  <c:v>0.67638888888888993</c:v>
                </c:pt>
                <c:pt idx="975">
                  <c:v>0.67708333333333448</c:v>
                </c:pt>
                <c:pt idx="976">
                  <c:v>0.6777777777777787</c:v>
                </c:pt>
                <c:pt idx="977">
                  <c:v>0.67847222222222225</c:v>
                </c:pt>
                <c:pt idx="978">
                  <c:v>0.6791666666666667</c:v>
                </c:pt>
                <c:pt idx="979">
                  <c:v>0.67986111111111214</c:v>
                </c:pt>
                <c:pt idx="980">
                  <c:v>0.68055555555555569</c:v>
                </c:pt>
                <c:pt idx="981">
                  <c:v>0.68125000000000002</c:v>
                </c:pt>
                <c:pt idx="982">
                  <c:v>0.68194444444444535</c:v>
                </c:pt>
                <c:pt idx="983">
                  <c:v>0.68263888888888979</c:v>
                </c:pt>
                <c:pt idx="984">
                  <c:v>0.68333333333333324</c:v>
                </c:pt>
                <c:pt idx="985">
                  <c:v>0.68402777777777779</c:v>
                </c:pt>
                <c:pt idx="986">
                  <c:v>0.68472222222222223</c:v>
                </c:pt>
                <c:pt idx="987">
                  <c:v>0.68541666666666656</c:v>
                </c:pt>
                <c:pt idx="988">
                  <c:v>0.68611111111111101</c:v>
                </c:pt>
                <c:pt idx="989">
                  <c:v>0.68680555555555645</c:v>
                </c:pt>
                <c:pt idx="990">
                  <c:v>0.6875</c:v>
                </c:pt>
                <c:pt idx="991">
                  <c:v>0.68819444444444522</c:v>
                </c:pt>
                <c:pt idx="992">
                  <c:v>0.68888888888888977</c:v>
                </c:pt>
                <c:pt idx="993">
                  <c:v>0.68958333333333333</c:v>
                </c:pt>
                <c:pt idx="994">
                  <c:v>0.69027777777777777</c:v>
                </c:pt>
                <c:pt idx="995">
                  <c:v>0.69097222222222221</c:v>
                </c:pt>
                <c:pt idx="996">
                  <c:v>0.69166666666666676</c:v>
                </c:pt>
                <c:pt idx="997">
                  <c:v>0.69236111111111109</c:v>
                </c:pt>
                <c:pt idx="998">
                  <c:v>0.69305555555555565</c:v>
                </c:pt>
                <c:pt idx="999">
                  <c:v>0.69375000000000064</c:v>
                </c:pt>
                <c:pt idx="1000">
                  <c:v>0.69444444444444464</c:v>
                </c:pt>
                <c:pt idx="1001">
                  <c:v>0.69513888888888964</c:v>
                </c:pt>
                <c:pt idx="1002">
                  <c:v>0.69583333333333364</c:v>
                </c:pt>
                <c:pt idx="1003">
                  <c:v>0.69652777777777752</c:v>
                </c:pt>
                <c:pt idx="1004">
                  <c:v>0.6972222222222223</c:v>
                </c:pt>
                <c:pt idx="1005">
                  <c:v>0.69791666666666652</c:v>
                </c:pt>
                <c:pt idx="1006">
                  <c:v>0.69861111111111163</c:v>
                </c:pt>
                <c:pt idx="1007">
                  <c:v>0.69930555555555562</c:v>
                </c:pt>
                <c:pt idx="1008">
                  <c:v>0.70000000000000062</c:v>
                </c:pt>
                <c:pt idx="1009">
                  <c:v>0.70069444444444551</c:v>
                </c:pt>
                <c:pt idx="1010">
                  <c:v>0.70138888888888884</c:v>
                </c:pt>
                <c:pt idx="1011">
                  <c:v>0.70208333333333361</c:v>
                </c:pt>
                <c:pt idx="1012">
                  <c:v>0.70277777777777783</c:v>
                </c:pt>
                <c:pt idx="1013">
                  <c:v>0.70347222222222217</c:v>
                </c:pt>
                <c:pt idx="1014">
                  <c:v>0.7041666666666665</c:v>
                </c:pt>
                <c:pt idx="1015">
                  <c:v>0.7048611111111116</c:v>
                </c:pt>
                <c:pt idx="1016">
                  <c:v>0.7055555555555556</c:v>
                </c:pt>
                <c:pt idx="1017">
                  <c:v>0.70624999999999993</c:v>
                </c:pt>
                <c:pt idx="1018">
                  <c:v>0.70694444444444526</c:v>
                </c:pt>
                <c:pt idx="1019">
                  <c:v>0.70763888888888993</c:v>
                </c:pt>
                <c:pt idx="1020">
                  <c:v>0.7083333333333337</c:v>
                </c:pt>
                <c:pt idx="1021">
                  <c:v>0.7090277777777777</c:v>
                </c:pt>
                <c:pt idx="1022">
                  <c:v>0.70972222222222225</c:v>
                </c:pt>
                <c:pt idx="1023">
                  <c:v>0.71041666666666659</c:v>
                </c:pt>
                <c:pt idx="1024">
                  <c:v>0.71111111111111114</c:v>
                </c:pt>
                <c:pt idx="1025">
                  <c:v>0.71180555555555636</c:v>
                </c:pt>
                <c:pt idx="1026">
                  <c:v>0.71250000000000002</c:v>
                </c:pt>
                <c:pt idx="1027">
                  <c:v>0.71319444444444535</c:v>
                </c:pt>
                <c:pt idx="1028">
                  <c:v>0.71388888888888979</c:v>
                </c:pt>
                <c:pt idx="1029">
                  <c:v>0.71458333333333324</c:v>
                </c:pt>
                <c:pt idx="1030">
                  <c:v>0.71527777777777779</c:v>
                </c:pt>
                <c:pt idx="1031">
                  <c:v>0.71597222222222223</c:v>
                </c:pt>
                <c:pt idx="1032">
                  <c:v>0.71666666666666667</c:v>
                </c:pt>
                <c:pt idx="1033">
                  <c:v>0.71736111111111101</c:v>
                </c:pt>
                <c:pt idx="1034">
                  <c:v>0.71805555555555645</c:v>
                </c:pt>
                <c:pt idx="1035">
                  <c:v>0.71875000000000089</c:v>
                </c:pt>
                <c:pt idx="1036">
                  <c:v>0.71944444444444522</c:v>
                </c:pt>
                <c:pt idx="1037">
                  <c:v>0.72013888888888977</c:v>
                </c:pt>
                <c:pt idx="1038">
                  <c:v>0.7208333333333341</c:v>
                </c:pt>
                <c:pt idx="1039">
                  <c:v>0.72152777777777777</c:v>
                </c:pt>
                <c:pt idx="1040">
                  <c:v>0.72222222222222221</c:v>
                </c:pt>
                <c:pt idx="1041">
                  <c:v>0.72291666666666676</c:v>
                </c:pt>
                <c:pt idx="1042">
                  <c:v>0.72361111111111165</c:v>
                </c:pt>
                <c:pt idx="1043">
                  <c:v>0.72430555555555565</c:v>
                </c:pt>
                <c:pt idx="1044">
                  <c:v>0.72500000000000064</c:v>
                </c:pt>
                <c:pt idx="1045">
                  <c:v>0.72569444444444586</c:v>
                </c:pt>
                <c:pt idx="1046">
                  <c:v>0.72638888888888964</c:v>
                </c:pt>
                <c:pt idx="1047">
                  <c:v>0.72708333333333364</c:v>
                </c:pt>
                <c:pt idx="1048">
                  <c:v>0.72777777777777775</c:v>
                </c:pt>
                <c:pt idx="1049">
                  <c:v>0.7284722222222223</c:v>
                </c:pt>
                <c:pt idx="1050">
                  <c:v>0.72916666666666652</c:v>
                </c:pt>
                <c:pt idx="1051">
                  <c:v>0.72986111111111163</c:v>
                </c:pt>
                <c:pt idx="1052">
                  <c:v>0.73055555555555562</c:v>
                </c:pt>
                <c:pt idx="1053">
                  <c:v>0.73125000000000062</c:v>
                </c:pt>
                <c:pt idx="1054">
                  <c:v>0.73194444444444551</c:v>
                </c:pt>
                <c:pt idx="1055">
                  <c:v>0.73263888888888995</c:v>
                </c:pt>
                <c:pt idx="1056">
                  <c:v>0.73333333333333361</c:v>
                </c:pt>
                <c:pt idx="1057">
                  <c:v>0.73402777777777783</c:v>
                </c:pt>
                <c:pt idx="1058">
                  <c:v>0.73472222222222261</c:v>
                </c:pt>
                <c:pt idx="1059">
                  <c:v>0.7354166666666665</c:v>
                </c:pt>
                <c:pt idx="1060">
                  <c:v>0.7361111111111116</c:v>
                </c:pt>
                <c:pt idx="1061">
                  <c:v>0.7368055555555566</c:v>
                </c:pt>
                <c:pt idx="1062">
                  <c:v>0.73749999999999993</c:v>
                </c:pt>
                <c:pt idx="1063">
                  <c:v>0.73819444444444526</c:v>
                </c:pt>
                <c:pt idx="1064">
                  <c:v>0.73888888888888993</c:v>
                </c:pt>
                <c:pt idx="1065">
                  <c:v>0.7395833333333337</c:v>
                </c:pt>
                <c:pt idx="1066">
                  <c:v>0.7402777777777777</c:v>
                </c:pt>
                <c:pt idx="1067">
                  <c:v>0.74097222222222225</c:v>
                </c:pt>
                <c:pt idx="1068">
                  <c:v>0.7416666666666667</c:v>
                </c:pt>
                <c:pt idx="1069">
                  <c:v>0.74236111111111114</c:v>
                </c:pt>
                <c:pt idx="1070">
                  <c:v>0.74305555555555636</c:v>
                </c:pt>
                <c:pt idx="1071">
                  <c:v>0.74375000000000102</c:v>
                </c:pt>
                <c:pt idx="1072">
                  <c:v>0.74444444444444535</c:v>
                </c:pt>
                <c:pt idx="1073">
                  <c:v>0.74513888888888979</c:v>
                </c:pt>
                <c:pt idx="1074">
                  <c:v>0.74583333333333413</c:v>
                </c:pt>
                <c:pt idx="1075">
                  <c:v>0.74652777777777779</c:v>
                </c:pt>
                <c:pt idx="1076">
                  <c:v>0.74722222222222223</c:v>
                </c:pt>
                <c:pt idx="1077">
                  <c:v>0.74791666666666667</c:v>
                </c:pt>
                <c:pt idx="1078">
                  <c:v>0.74861111111111189</c:v>
                </c:pt>
                <c:pt idx="1079">
                  <c:v>0.74930555555555645</c:v>
                </c:pt>
                <c:pt idx="1080">
                  <c:v>0.75000000000000089</c:v>
                </c:pt>
                <c:pt idx="1081">
                  <c:v>0.750694444444446</c:v>
                </c:pt>
                <c:pt idx="1082">
                  <c:v>0.75138888888888977</c:v>
                </c:pt>
                <c:pt idx="1083">
                  <c:v>0.7520833333333341</c:v>
                </c:pt>
                <c:pt idx="1084">
                  <c:v>0.75277777777777855</c:v>
                </c:pt>
                <c:pt idx="1085">
                  <c:v>0.75347222222222221</c:v>
                </c:pt>
                <c:pt idx="1086">
                  <c:v>0.75416666666666676</c:v>
                </c:pt>
                <c:pt idx="1087">
                  <c:v>0.75486111111111165</c:v>
                </c:pt>
                <c:pt idx="1088">
                  <c:v>0.75555555555555565</c:v>
                </c:pt>
                <c:pt idx="1089">
                  <c:v>0.75625000000000064</c:v>
                </c:pt>
                <c:pt idx="1090">
                  <c:v>0.75694444444444586</c:v>
                </c:pt>
                <c:pt idx="1091">
                  <c:v>0.75763888888889031</c:v>
                </c:pt>
                <c:pt idx="1092">
                  <c:v>0.75833333333333364</c:v>
                </c:pt>
                <c:pt idx="1093">
                  <c:v>0.75902777777777775</c:v>
                </c:pt>
                <c:pt idx="1094">
                  <c:v>0.75972222222222263</c:v>
                </c:pt>
                <c:pt idx="1095">
                  <c:v>0.76041666666666652</c:v>
                </c:pt>
                <c:pt idx="1096">
                  <c:v>0.76111111111111163</c:v>
                </c:pt>
                <c:pt idx="1097">
                  <c:v>0.76180555555555673</c:v>
                </c:pt>
                <c:pt idx="1098">
                  <c:v>0.76250000000000062</c:v>
                </c:pt>
                <c:pt idx="1099">
                  <c:v>0.76319444444444551</c:v>
                </c:pt>
                <c:pt idx="1100">
                  <c:v>0.76388888888888995</c:v>
                </c:pt>
                <c:pt idx="1101">
                  <c:v>0.76458333333333361</c:v>
                </c:pt>
                <c:pt idx="1102">
                  <c:v>0.76527777777777783</c:v>
                </c:pt>
                <c:pt idx="1103">
                  <c:v>0.76597222222222261</c:v>
                </c:pt>
                <c:pt idx="1104">
                  <c:v>0.76666666666666661</c:v>
                </c:pt>
                <c:pt idx="1105">
                  <c:v>0.7673611111111116</c:v>
                </c:pt>
                <c:pt idx="1106">
                  <c:v>0.7680555555555566</c:v>
                </c:pt>
                <c:pt idx="1107">
                  <c:v>0.76875000000000093</c:v>
                </c:pt>
                <c:pt idx="1108">
                  <c:v>0.76944444444444526</c:v>
                </c:pt>
                <c:pt idx="1109">
                  <c:v>0.77013888888888993</c:v>
                </c:pt>
                <c:pt idx="1110">
                  <c:v>0.77083333333333448</c:v>
                </c:pt>
                <c:pt idx="1111">
                  <c:v>0.7715277777777777</c:v>
                </c:pt>
                <c:pt idx="1112">
                  <c:v>0.77222222222222225</c:v>
                </c:pt>
                <c:pt idx="1113">
                  <c:v>0.7729166666666667</c:v>
                </c:pt>
                <c:pt idx="1114">
                  <c:v>0.77361111111111214</c:v>
                </c:pt>
                <c:pt idx="1115">
                  <c:v>0.77430555555555636</c:v>
                </c:pt>
                <c:pt idx="1116">
                  <c:v>0.77500000000000102</c:v>
                </c:pt>
                <c:pt idx="1117">
                  <c:v>0.77569444444444624</c:v>
                </c:pt>
                <c:pt idx="1118">
                  <c:v>0.77638888888888979</c:v>
                </c:pt>
                <c:pt idx="1119">
                  <c:v>0.77708333333333413</c:v>
                </c:pt>
                <c:pt idx="1120">
                  <c:v>0.77777777777777868</c:v>
                </c:pt>
                <c:pt idx="1121">
                  <c:v>0.77847222222222223</c:v>
                </c:pt>
                <c:pt idx="1122">
                  <c:v>0.77916666666666667</c:v>
                </c:pt>
                <c:pt idx="1123">
                  <c:v>0.77986111111111189</c:v>
                </c:pt>
                <c:pt idx="1124">
                  <c:v>0.78055555555555567</c:v>
                </c:pt>
                <c:pt idx="1125">
                  <c:v>0.78125</c:v>
                </c:pt>
                <c:pt idx="1126">
                  <c:v>0.78194444444444522</c:v>
                </c:pt>
                <c:pt idx="1127">
                  <c:v>0.78263888888888977</c:v>
                </c:pt>
                <c:pt idx="1128">
                  <c:v>0.78333333333333333</c:v>
                </c:pt>
                <c:pt idx="1129">
                  <c:v>0.78402777777777777</c:v>
                </c:pt>
                <c:pt idx="1130">
                  <c:v>0.78472222222222221</c:v>
                </c:pt>
                <c:pt idx="1131">
                  <c:v>0.78541666666666587</c:v>
                </c:pt>
                <c:pt idx="1132">
                  <c:v>0.78611111111111109</c:v>
                </c:pt>
                <c:pt idx="1133">
                  <c:v>0.78680555555555565</c:v>
                </c:pt>
                <c:pt idx="1134">
                  <c:v>0.78749999999999998</c:v>
                </c:pt>
                <c:pt idx="1135">
                  <c:v>0.78819444444444464</c:v>
                </c:pt>
                <c:pt idx="1136">
                  <c:v>0.78888888888888964</c:v>
                </c:pt>
                <c:pt idx="1137">
                  <c:v>0.7895833333333333</c:v>
                </c:pt>
                <c:pt idx="1138">
                  <c:v>0.79027777777777752</c:v>
                </c:pt>
                <c:pt idx="1139">
                  <c:v>0.7909722222222223</c:v>
                </c:pt>
                <c:pt idx="1140">
                  <c:v>0.79166666666666652</c:v>
                </c:pt>
                <c:pt idx="1141">
                  <c:v>0.79236111111111107</c:v>
                </c:pt>
                <c:pt idx="1142">
                  <c:v>0.79305555555555562</c:v>
                </c:pt>
                <c:pt idx="1143">
                  <c:v>0.79375000000000062</c:v>
                </c:pt>
                <c:pt idx="1144">
                  <c:v>0.79444444444444462</c:v>
                </c:pt>
                <c:pt idx="1145">
                  <c:v>0.79513888888888884</c:v>
                </c:pt>
                <c:pt idx="1146">
                  <c:v>0.79583333333333361</c:v>
                </c:pt>
                <c:pt idx="1147">
                  <c:v>0.7965277777777775</c:v>
                </c:pt>
                <c:pt idx="1148">
                  <c:v>0.79722222222222217</c:v>
                </c:pt>
                <c:pt idx="1149">
                  <c:v>0.7979166666666665</c:v>
                </c:pt>
                <c:pt idx="1150">
                  <c:v>0.7986111111111116</c:v>
                </c:pt>
                <c:pt idx="1151">
                  <c:v>0.7993055555555556</c:v>
                </c:pt>
                <c:pt idx="1152">
                  <c:v>0.79999999999999993</c:v>
                </c:pt>
                <c:pt idx="1153">
                  <c:v>0.80069444444444526</c:v>
                </c:pt>
                <c:pt idx="1154">
                  <c:v>0.80138888888888893</c:v>
                </c:pt>
                <c:pt idx="1155">
                  <c:v>0.8020833333333337</c:v>
                </c:pt>
                <c:pt idx="1156">
                  <c:v>0.8027777777777777</c:v>
                </c:pt>
                <c:pt idx="1157">
                  <c:v>0.80347222222222159</c:v>
                </c:pt>
                <c:pt idx="1158">
                  <c:v>0.80416666666666659</c:v>
                </c:pt>
                <c:pt idx="1159">
                  <c:v>0.80486111111111114</c:v>
                </c:pt>
                <c:pt idx="1160">
                  <c:v>0.80555555555555569</c:v>
                </c:pt>
                <c:pt idx="1161">
                  <c:v>0.80625000000000002</c:v>
                </c:pt>
                <c:pt idx="1162">
                  <c:v>0.80694444444444535</c:v>
                </c:pt>
                <c:pt idx="1163">
                  <c:v>0.80763888888888979</c:v>
                </c:pt>
                <c:pt idx="1164">
                  <c:v>0.80833333333333324</c:v>
                </c:pt>
                <c:pt idx="1165">
                  <c:v>0.80902777777777779</c:v>
                </c:pt>
                <c:pt idx="1166">
                  <c:v>0.80972222222222223</c:v>
                </c:pt>
                <c:pt idx="1167">
                  <c:v>0.81041666666666656</c:v>
                </c:pt>
                <c:pt idx="1168">
                  <c:v>0.81111111111111101</c:v>
                </c:pt>
                <c:pt idx="1169">
                  <c:v>0.81180555555555645</c:v>
                </c:pt>
                <c:pt idx="1170">
                  <c:v>0.8125</c:v>
                </c:pt>
                <c:pt idx="1171">
                  <c:v>0.81319444444444522</c:v>
                </c:pt>
                <c:pt idx="1172">
                  <c:v>0.81388888888888977</c:v>
                </c:pt>
                <c:pt idx="1173">
                  <c:v>0.81458333333333333</c:v>
                </c:pt>
                <c:pt idx="1174">
                  <c:v>0.81527777777777777</c:v>
                </c:pt>
                <c:pt idx="1175">
                  <c:v>0.81597222222222221</c:v>
                </c:pt>
                <c:pt idx="1176">
                  <c:v>0.81666666666666676</c:v>
                </c:pt>
                <c:pt idx="1177">
                  <c:v>0.81736111111111109</c:v>
                </c:pt>
                <c:pt idx="1178">
                  <c:v>0.81805555555555565</c:v>
                </c:pt>
                <c:pt idx="1179">
                  <c:v>0.81875000000000064</c:v>
                </c:pt>
                <c:pt idx="1180">
                  <c:v>0.81944444444444464</c:v>
                </c:pt>
                <c:pt idx="1181">
                  <c:v>0.82013888888888964</c:v>
                </c:pt>
                <c:pt idx="1182">
                  <c:v>0.82083333333333364</c:v>
                </c:pt>
                <c:pt idx="1183">
                  <c:v>0.82152777777777752</c:v>
                </c:pt>
                <c:pt idx="1184">
                  <c:v>0.8222222222222223</c:v>
                </c:pt>
                <c:pt idx="1185">
                  <c:v>0.82291666666666652</c:v>
                </c:pt>
                <c:pt idx="1186">
                  <c:v>0.82361111111111163</c:v>
                </c:pt>
                <c:pt idx="1187">
                  <c:v>0.82430555555555562</c:v>
                </c:pt>
                <c:pt idx="1188">
                  <c:v>0.82500000000000062</c:v>
                </c:pt>
                <c:pt idx="1189">
                  <c:v>0.82569444444444551</c:v>
                </c:pt>
                <c:pt idx="1190">
                  <c:v>0.82638888888888884</c:v>
                </c:pt>
                <c:pt idx="1191">
                  <c:v>0.82708333333333361</c:v>
                </c:pt>
                <c:pt idx="1192">
                  <c:v>0.82777777777777783</c:v>
                </c:pt>
                <c:pt idx="1193">
                  <c:v>0.82847222222222217</c:v>
                </c:pt>
                <c:pt idx="1194">
                  <c:v>0.8291666666666665</c:v>
                </c:pt>
                <c:pt idx="1195">
                  <c:v>0.8298611111111116</c:v>
                </c:pt>
                <c:pt idx="1196">
                  <c:v>0.8305555555555556</c:v>
                </c:pt>
                <c:pt idx="1197">
                  <c:v>0.83124999999999993</c:v>
                </c:pt>
                <c:pt idx="1198">
                  <c:v>0.83194444444444526</c:v>
                </c:pt>
                <c:pt idx="1199">
                  <c:v>0.83263888888888993</c:v>
                </c:pt>
                <c:pt idx="1200">
                  <c:v>0.8333333333333337</c:v>
                </c:pt>
                <c:pt idx="1201">
                  <c:v>0.8340277777777777</c:v>
                </c:pt>
                <c:pt idx="1202">
                  <c:v>0.83472222222222225</c:v>
                </c:pt>
                <c:pt idx="1203">
                  <c:v>0.83541666666666659</c:v>
                </c:pt>
                <c:pt idx="1204">
                  <c:v>0.83611111111111114</c:v>
                </c:pt>
                <c:pt idx="1205">
                  <c:v>0.83680555555555636</c:v>
                </c:pt>
                <c:pt idx="1206">
                  <c:v>0.83750000000000002</c:v>
                </c:pt>
                <c:pt idx="1207">
                  <c:v>0.83819444444444535</c:v>
                </c:pt>
                <c:pt idx="1208">
                  <c:v>0.83888888888888979</c:v>
                </c:pt>
                <c:pt idx="1209">
                  <c:v>0.83958333333333324</c:v>
                </c:pt>
                <c:pt idx="1210">
                  <c:v>0.84027777777777779</c:v>
                </c:pt>
                <c:pt idx="1211">
                  <c:v>0.84097222222222223</c:v>
                </c:pt>
                <c:pt idx="1212">
                  <c:v>0.84166666666666667</c:v>
                </c:pt>
                <c:pt idx="1213">
                  <c:v>0.84236111111111101</c:v>
                </c:pt>
                <c:pt idx="1214">
                  <c:v>0.84305555555555645</c:v>
                </c:pt>
                <c:pt idx="1215">
                  <c:v>0.84375000000000089</c:v>
                </c:pt>
                <c:pt idx="1216">
                  <c:v>0.84444444444444522</c:v>
                </c:pt>
                <c:pt idx="1217">
                  <c:v>0.84513888888888977</c:v>
                </c:pt>
                <c:pt idx="1218">
                  <c:v>0.8458333333333341</c:v>
                </c:pt>
                <c:pt idx="1219">
                  <c:v>0.84652777777777777</c:v>
                </c:pt>
                <c:pt idx="1220">
                  <c:v>0.84722222222222221</c:v>
                </c:pt>
                <c:pt idx="1221">
                  <c:v>0.84791666666666676</c:v>
                </c:pt>
                <c:pt idx="1222">
                  <c:v>0.84861111111111165</c:v>
                </c:pt>
                <c:pt idx="1223">
                  <c:v>0.84930555555555565</c:v>
                </c:pt>
                <c:pt idx="1224">
                  <c:v>0.85000000000000064</c:v>
                </c:pt>
                <c:pt idx="1225">
                  <c:v>0.85069444444444586</c:v>
                </c:pt>
                <c:pt idx="1226">
                  <c:v>0.85138888888888964</c:v>
                </c:pt>
                <c:pt idx="1227">
                  <c:v>0.85208333333333364</c:v>
                </c:pt>
                <c:pt idx="1228">
                  <c:v>0.85277777777777775</c:v>
                </c:pt>
                <c:pt idx="1229">
                  <c:v>0.8534722222222223</c:v>
                </c:pt>
                <c:pt idx="1230">
                  <c:v>0.85416666666666652</c:v>
                </c:pt>
                <c:pt idx="1231">
                  <c:v>0.85486111111111163</c:v>
                </c:pt>
                <c:pt idx="1232">
                  <c:v>0.85555555555555562</c:v>
                </c:pt>
                <c:pt idx="1233">
                  <c:v>0.85625000000000062</c:v>
                </c:pt>
                <c:pt idx="1234">
                  <c:v>0.85694444444444551</c:v>
                </c:pt>
                <c:pt idx="1235">
                  <c:v>0.85763888888888995</c:v>
                </c:pt>
                <c:pt idx="1236">
                  <c:v>0.85833333333333361</c:v>
                </c:pt>
                <c:pt idx="1237">
                  <c:v>0.85902777777777783</c:v>
                </c:pt>
                <c:pt idx="1238">
                  <c:v>0.85972222222222261</c:v>
                </c:pt>
                <c:pt idx="1239">
                  <c:v>0.8604166666666665</c:v>
                </c:pt>
                <c:pt idx="1240">
                  <c:v>0.8611111111111116</c:v>
                </c:pt>
                <c:pt idx="1241">
                  <c:v>0.8618055555555566</c:v>
                </c:pt>
                <c:pt idx="1242">
                  <c:v>0.86249999999999993</c:v>
                </c:pt>
                <c:pt idx="1243">
                  <c:v>0.86319444444444526</c:v>
                </c:pt>
                <c:pt idx="1244">
                  <c:v>0.86388888888888993</c:v>
                </c:pt>
                <c:pt idx="1245">
                  <c:v>0.8645833333333337</c:v>
                </c:pt>
                <c:pt idx="1246">
                  <c:v>0.8652777777777777</c:v>
                </c:pt>
                <c:pt idx="1247">
                  <c:v>0.86597222222222225</c:v>
                </c:pt>
                <c:pt idx="1248">
                  <c:v>0.8666666666666667</c:v>
                </c:pt>
                <c:pt idx="1249">
                  <c:v>0.86736111111111114</c:v>
                </c:pt>
                <c:pt idx="1250">
                  <c:v>0.86805555555555636</c:v>
                </c:pt>
                <c:pt idx="1251">
                  <c:v>0.86875000000000102</c:v>
                </c:pt>
                <c:pt idx="1252">
                  <c:v>0.86944444444444535</c:v>
                </c:pt>
                <c:pt idx="1253">
                  <c:v>0.87013888888888979</c:v>
                </c:pt>
                <c:pt idx="1254">
                  <c:v>0.87083333333333413</c:v>
                </c:pt>
                <c:pt idx="1255">
                  <c:v>0.87152777777777779</c:v>
                </c:pt>
                <c:pt idx="1256">
                  <c:v>0.87222222222222223</c:v>
                </c:pt>
                <c:pt idx="1257">
                  <c:v>0.87291666666666667</c:v>
                </c:pt>
                <c:pt idx="1258">
                  <c:v>0.87361111111111189</c:v>
                </c:pt>
                <c:pt idx="1259">
                  <c:v>0.87430555555555645</c:v>
                </c:pt>
                <c:pt idx="1260">
                  <c:v>0.87500000000000089</c:v>
                </c:pt>
                <c:pt idx="1261">
                  <c:v>0.875694444444446</c:v>
                </c:pt>
                <c:pt idx="1262">
                  <c:v>0.87638888888888977</c:v>
                </c:pt>
                <c:pt idx="1263">
                  <c:v>0.8770833333333341</c:v>
                </c:pt>
                <c:pt idx="1264">
                  <c:v>0.87777777777777855</c:v>
                </c:pt>
                <c:pt idx="1265">
                  <c:v>0.87847222222222221</c:v>
                </c:pt>
                <c:pt idx="1266">
                  <c:v>0.87916666666666676</c:v>
                </c:pt>
                <c:pt idx="1267">
                  <c:v>0.87986111111111165</c:v>
                </c:pt>
                <c:pt idx="1268">
                  <c:v>0.88055555555555554</c:v>
                </c:pt>
                <c:pt idx="1269">
                  <c:v>0.88124999999999998</c:v>
                </c:pt>
                <c:pt idx="1270">
                  <c:v>0.88194444444444464</c:v>
                </c:pt>
                <c:pt idx="1271">
                  <c:v>0.88263888888888964</c:v>
                </c:pt>
                <c:pt idx="1272">
                  <c:v>0.8833333333333333</c:v>
                </c:pt>
                <c:pt idx="1273">
                  <c:v>0.88402777777777752</c:v>
                </c:pt>
                <c:pt idx="1274">
                  <c:v>0.8847222222222223</c:v>
                </c:pt>
                <c:pt idx="1275">
                  <c:v>0.88541666666666563</c:v>
                </c:pt>
                <c:pt idx="1276">
                  <c:v>0.88611111111111107</c:v>
                </c:pt>
                <c:pt idx="1277">
                  <c:v>0.88680555555555562</c:v>
                </c:pt>
                <c:pt idx="1278">
                  <c:v>0.88750000000000007</c:v>
                </c:pt>
                <c:pt idx="1279">
                  <c:v>0.88819444444444462</c:v>
                </c:pt>
                <c:pt idx="1280">
                  <c:v>0.88888888888888884</c:v>
                </c:pt>
                <c:pt idx="1281">
                  <c:v>0.88958333333333339</c:v>
                </c:pt>
                <c:pt idx="1282">
                  <c:v>0.8902777777777775</c:v>
                </c:pt>
                <c:pt idx="1283">
                  <c:v>0.89097222222222217</c:v>
                </c:pt>
                <c:pt idx="1284">
                  <c:v>0.8916666666666665</c:v>
                </c:pt>
                <c:pt idx="1285">
                  <c:v>0.89236111111111116</c:v>
                </c:pt>
                <c:pt idx="1286">
                  <c:v>0.8930555555555556</c:v>
                </c:pt>
                <c:pt idx="1287">
                  <c:v>0.89374999999999993</c:v>
                </c:pt>
                <c:pt idx="1288">
                  <c:v>0.8944444444444446</c:v>
                </c:pt>
                <c:pt idx="1289">
                  <c:v>0.89513888888888893</c:v>
                </c:pt>
                <c:pt idx="1290">
                  <c:v>0.8958333333333337</c:v>
                </c:pt>
                <c:pt idx="1291">
                  <c:v>0.89652777777777759</c:v>
                </c:pt>
                <c:pt idx="1292">
                  <c:v>0.89722222222222159</c:v>
                </c:pt>
                <c:pt idx="1293">
                  <c:v>0.89791666666666659</c:v>
                </c:pt>
                <c:pt idx="1294">
                  <c:v>0.89861111111111114</c:v>
                </c:pt>
                <c:pt idx="1295">
                  <c:v>0.89930555555555569</c:v>
                </c:pt>
                <c:pt idx="1296">
                  <c:v>0.9</c:v>
                </c:pt>
                <c:pt idx="1297">
                  <c:v>0.90069444444444535</c:v>
                </c:pt>
                <c:pt idx="1298">
                  <c:v>0.90138888888888891</c:v>
                </c:pt>
                <c:pt idx="1299">
                  <c:v>0.90208333333333324</c:v>
                </c:pt>
                <c:pt idx="1300">
                  <c:v>0.90277777777777779</c:v>
                </c:pt>
                <c:pt idx="1301">
                  <c:v>0.90347222222222157</c:v>
                </c:pt>
                <c:pt idx="1302">
                  <c:v>0.90416666666666656</c:v>
                </c:pt>
                <c:pt idx="1303">
                  <c:v>0.90486111111111101</c:v>
                </c:pt>
                <c:pt idx="1304">
                  <c:v>0.90555555555555567</c:v>
                </c:pt>
                <c:pt idx="1305">
                  <c:v>0.90625</c:v>
                </c:pt>
                <c:pt idx="1306">
                  <c:v>0.90694444444444522</c:v>
                </c:pt>
                <c:pt idx="1307">
                  <c:v>0.90763888888888977</c:v>
                </c:pt>
                <c:pt idx="1308">
                  <c:v>0.90833333333333333</c:v>
                </c:pt>
                <c:pt idx="1309">
                  <c:v>0.90902777777777777</c:v>
                </c:pt>
                <c:pt idx="1310">
                  <c:v>0.90972222222222221</c:v>
                </c:pt>
                <c:pt idx="1311">
                  <c:v>0.91041666666666587</c:v>
                </c:pt>
                <c:pt idx="1312">
                  <c:v>0.91111111111111109</c:v>
                </c:pt>
                <c:pt idx="1313">
                  <c:v>0.91180555555555565</c:v>
                </c:pt>
                <c:pt idx="1314">
                  <c:v>0.91249999999999998</c:v>
                </c:pt>
                <c:pt idx="1315">
                  <c:v>0.91319444444444464</c:v>
                </c:pt>
                <c:pt idx="1316">
                  <c:v>0.91388888888888964</c:v>
                </c:pt>
                <c:pt idx="1317">
                  <c:v>0.9145833333333333</c:v>
                </c:pt>
                <c:pt idx="1318">
                  <c:v>0.91527777777777752</c:v>
                </c:pt>
                <c:pt idx="1319">
                  <c:v>0.9159722222222223</c:v>
                </c:pt>
                <c:pt idx="1320">
                  <c:v>0.91666666666666652</c:v>
                </c:pt>
                <c:pt idx="1321">
                  <c:v>0.91736111111111107</c:v>
                </c:pt>
                <c:pt idx="1322">
                  <c:v>0.91805555555555562</c:v>
                </c:pt>
                <c:pt idx="1323">
                  <c:v>0.91875000000000062</c:v>
                </c:pt>
                <c:pt idx="1324">
                  <c:v>0.91944444444444462</c:v>
                </c:pt>
                <c:pt idx="1325">
                  <c:v>0.92013888888888884</c:v>
                </c:pt>
                <c:pt idx="1326">
                  <c:v>0.92083333333333361</c:v>
                </c:pt>
                <c:pt idx="1327">
                  <c:v>0.9215277777777775</c:v>
                </c:pt>
                <c:pt idx="1328">
                  <c:v>0.92222222222222217</c:v>
                </c:pt>
                <c:pt idx="1329">
                  <c:v>0.9229166666666665</c:v>
                </c:pt>
                <c:pt idx="1330">
                  <c:v>0.9236111111111116</c:v>
                </c:pt>
                <c:pt idx="1331">
                  <c:v>0.9243055555555556</c:v>
                </c:pt>
                <c:pt idx="1332">
                  <c:v>0.92499999999999993</c:v>
                </c:pt>
                <c:pt idx="1333">
                  <c:v>0.92569444444444526</c:v>
                </c:pt>
                <c:pt idx="1334">
                  <c:v>0.92638888888888893</c:v>
                </c:pt>
                <c:pt idx="1335">
                  <c:v>0.9270833333333337</c:v>
                </c:pt>
                <c:pt idx="1336">
                  <c:v>0.9277777777777777</c:v>
                </c:pt>
                <c:pt idx="1337">
                  <c:v>0.92847222222222159</c:v>
                </c:pt>
                <c:pt idx="1338">
                  <c:v>0.92916666666666659</c:v>
                </c:pt>
                <c:pt idx="1339">
                  <c:v>0.92986111111111114</c:v>
                </c:pt>
                <c:pt idx="1340">
                  <c:v>0.93055555555555569</c:v>
                </c:pt>
                <c:pt idx="1341">
                  <c:v>0.93125000000000002</c:v>
                </c:pt>
                <c:pt idx="1342">
                  <c:v>0.93194444444444535</c:v>
                </c:pt>
                <c:pt idx="1343">
                  <c:v>0.93263888888888979</c:v>
                </c:pt>
                <c:pt idx="1344">
                  <c:v>0.93333333333333324</c:v>
                </c:pt>
                <c:pt idx="1345">
                  <c:v>0.93402777777777779</c:v>
                </c:pt>
                <c:pt idx="1346">
                  <c:v>0.93472222222222223</c:v>
                </c:pt>
                <c:pt idx="1347">
                  <c:v>0.93541666666666656</c:v>
                </c:pt>
                <c:pt idx="1348">
                  <c:v>0.93611111111111101</c:v>
                </c:pt>
                <c:pt idx="1349">
                  <c:v>0.93680555555555645</c:v>
                </c:pt>
                <c:pt idx="1350">
                  <c:v>0.9375</c:v>
                </c:pt>
                <c:pt idx="1351">
                  <c:v>0.93819444444444522</c:v>
                </c:pt>
                <c:pt idx="1352">
                  <c:v>0.93888888888888977</c:v>
                </c:pt>
                <c:pt idx="1353">
                  <c:v>0.93958333333333333</c:v>
                </c:pt>
                <c:pt idx="1354">
                  <c:v>0.94027777777777777</c:v>
                </c:pt>
                <c:pt idx="1355">
                  <c:v>0.94097222222222221</c:v>
                </c:pt>
                <c:pt idx="1356">
                  <c:v>0.94166666666666676</c:v>
                </c:pt>
                <c:pt idx="1357">
                  <c:v>0.94236111111111109</c:v>
                </c:pt>
                <c:pt idx="1358">
                  <c:v>0.94305555555555565</c:v>
                </c:pt>
                <c:pt idx="1359">
                  <c:v>0.94375000000000064</c:v>
                </c:pt>
                <c:pt idx="1360">
                  <c:v>0.94444444444444464</c:v>
                </c:pt>
                <c:pt idx="1361">
                  <c:v>0.94513888888888964</c:v>
                </c:pt>
                <c:pt idx="1362">
                  <c:v>0.94583333333333364</c:v>
                </c:pt>
                <c:pt idx="1363">
                  <c:v>0.94652777777777752</c:v>
                </c:pt>
                <c:pt idx="1364">
                  <c:v>0.9472222222222223</c:v>
                </c:pt>
                <c:pt idx="1365">
                  <c:v>0.94791666666666652</c:v>
                </c:pt>
                <c:pt idx="1366">
                  <c:v>0.94861111111111163</c:v>
                </c:pt>
                <c:pt idx="1367">
                  <c:v>0.94930555555555562</c:v>
                </c:pt>
                <c:pt idx="1368">
                  <c:v>0.95000000000000062</c:v>
                </c:pt>
                <c:pt idx="1369">
                  <c:v>0.95069444444444551</c:v>
                </c:pt>
                <c:pt idx="1370">
                  <c:v>0.95138888888888884</c:v>
                </c:pt>
                <c:pt idx="1371">
                  <c:v>0.95208333333333361</c:v>
                </c:pt>
                <c:pt idx="1372">
                  <c:v>0.95277777777777783</c:v>
                </c:pt>
                <c:pt idx="1373">
                  <c:v>0.95347222222222217</c:v>
                </c:pt>
                <c:pt idx="1374">
                  <c:v>0.9541666666666665</c:v>
                </c:pt>
                <c:pt idx="1375">
                  <c:v>0.9548611111111116</c:v>
                </c:pt>
                <c:pt idx="1376">
                  <c:v>0.9555555555555556</c:v>
                </c:pt>
                <c:pt idx="1377">
                  <c:v>0.95624999999999993</c:v>
                </c:pt>
                <c:pt idx="1378">
                  <c:v>0.95694444444444526</c:v>
                </c:pt>
                <c:pt idx="1379">
                  <c:v>0.95763888888888993</c:v>
                </c:pt>
                <c:pt idx="1380">
                  <c:v>0.9583333333333337</c:v>
                </c:pt>
                <c:pt idx="1381">
                  <c:v>0.9590277777777777</c:v>
                </c:pt>
                <c:pt idx="1382">
                  <c:v>0.95972222222222225</c:v>
                </c:pt>
                <c:pt idx="1383">
                  <c:v>0.96041666666666659</c:v>
                </c:pt>
                <c:pt idx="1384">
                  <c:v>0.96111111111111114</c:v>
                </c:pt>
                <c:pt idx="1385">
                  <c:v>0.96180555555555636</c:v>
                </c:pt>
                <c:pt idx="1386">
                  <c:v>0.96250000000000002</c:v>
                </c:pt>
                <c:pt idx="1387">
                  <c:v>0.96319444444444535</c:v>
                </c:pt>
                <c:pt idx="1388">
                  <c:v>0.96388888888888979</c:v>
                </c:pt>
                <c:pt idx="1389">
                  <c:v>0.96458333333333324</c:v>
                </c:pt>
                <c:pt idx="1390">
                  <c:v>0.96527777777777779</c:v>
                </c:pt>
                <c:pt idx="1391">
                  <c:v>0.96597222222222223</c:v>
                </c:pt>
                <c:pt idx="1392">
                  <c:v>0.96666666666666667</c:v>
                </c:pt>
                <c:pt idx="1393">
                  <c:v>0.96736111111111101</c:v>
                </c:pt>
                <c:pt idx="1394">
                  <c:v>0.96805555555555645</c:v>
                </c:pt>
                <c:pt idx="1395">
                  <c:v>0.96875000000000089</c:v>
                </c:pt>
                <c:pt idx="1396">
                  <c:v>0.96944444444444522</c:v>
                </c:pt>
                <c:pt idx="1397">
                  <c:v>0.97013888888888977</c:v>
                </c:pt>
                <c:pt idx="1398">
                  <c:v>0.9708333333333341</c:v>
                </c:pt>
                <c:pt idx="1399">
                  <c:v>0.97152777777777777</c:v>
                </c:pt>
                <c:pt idx="1400">
                  <c:v>0.97222222222222221</c:v>
                </c:pt>
                <c:pt idx="1401">
                  <c:v>0.97291666666666676</c:v>
                </c:pt>
                <c:pt idx="1402">
                  <c:v>0.97361111111111165</c:v>
                </c:pt>
                <c:pt idx="1403">
                  <c:v>0.97430555555555565</c:v>
                </c:pt>
                <c:pt idx="1404">
                  <c:v>0.97500000000000064</c:v>
                </c:pt>
                <c:pt idx="1405">
                  <c:v>0.97569444444444586</c:v>
                </c:pt>
                <c:pt idx="1406">
                  <c:v>0.97638888888888964</c:v>
                </c:pt>
                <c:pt idx="1407">
                  <c:v>0.97708333333333364</c:v>
                </c:pt>
                <c:pt idx="1408">
                  <c:v>0.97777777777777775</c:v>
                </c:pt>
                <c:pt idx="1409">
                  <c:v>0.9784722222222223</c:v>
                </c:pt>
                <c:pt idx="1410">
                  <c:v>0.97916666666666652</c:v>
                </c:pt>
                <c:pt idx="1411">
                  <c:v>0.97986111111111163</c:v>
                </c:pt>
                <c:pt idx="1412">
                  <c:v>0.98055555555555551</c:v>
                </c:pt>
                <c:pt idx="1413">
                  <c:v>0.98125000000000007</c:v>
                </c:pt>
                <c:pt idx="1414">
                  <c:v>0.98194444444444462</c:v>
                </c:pt>
                <c:pt idx="1415">
                  <c:v>0.98263888888888884</c:v>
                </c:pt>
                <c:pt idx="1416">
                  <c:v>0.98333333333333339</c:v>
                </c:pt>
                <c:pt idx="1417">
                  <c:v>0.9840277777777775</c:v>
                </c:pt>
                <c:pt idx="1418">
                  <c:v>0.98472222222222217</c:v>
                </c:pt>
                <c:pt idx="1419">
                  <c:v>0.98541666666666539</c:v>
                </c:pt>
                <c:pt idx="1420">
                  <c:v>0.98611111111111116</c:v>
                </c:pt>
                <c:pt idx="1421">
                  <c:v>0.9868055555555556</c:v>
                </c:pt>
                <c:pt idx="1422">
                  <c:v>0.98749999999999949</c:v>
                </c:pt>
                <c:pt idx="1423">
                  <c:v>0.9881944444444446</c:v>
                </c:pt>
                <c:pt idx="1424">
                  <c:v>0.98888888888888893</c:v>
                </c:pt>
                <c:pt idx="1425">
                  <c:v>0.98958333333333337</c:v>
                </c:pt>
                <c:pt idx="1426">
                  <c:v>0.99027777777777759</c:v>
                </c:pt>
                <c:pt idx="1427">
                  <c:v>0.99097222222222159</c:v>
                </c:pt>
                <c:pt idx="1428">
                  <c:v>0.99166666666666659</c:v>
                </c:pt>
                <c:pt idx="1429">
                  <c:v>0.99236111111111058</c:v>
                </c:pt>
                <c:pt idx="1430">
                  <c:v>0.99305555555555569</c:v>
                </c:pt>
                <c:pt idx="1431">
                  <c:v>0.99375000000000002</c:v>
                </c:pt>
                <c:pt idx="1432">
                  <c:v>0.99444444444444469</c:v>
                </c:pt>
                <c:pt idx="1433">
                  <c:v>0.99513888888888891</c:v>
                </c:pt>
                <c:pt idx="1434">
                  <c:v>0.99583333333333324</c:v>
                </c:pt>
                <c:pt idx="1435">
                  <c:v>0.99652777777777757</c:v>
                </c:pt>
                <c:pt idx="1436">
                  <c:v>0.99722222222222157</c:v>
                </c:pt>
                <c:pt idx="1437">
                  <c:v>0.99791666666666656</c:v>
                </c:pt>
                <c:pt idx="1438">
                  <c:v>0.99861111111111101</c:v>
                </c:pt>
                <c:pt idx="1439">
                  <c:v>0.99930555555555567</c:v>
                </c:pt>
              </c:numCache>
            </c:numRef>
          </c:cat>
          <c:val>
            <c:numRef>
              <c:f>Sheet1!$F$2:$F$1441</c:f>
              <c:numCache>
                <c:formatCode>_(* #,##0_);_(* \(#,##0\);_(* "-"??_);_(@_)</c:formatCode>
                <c:ptCount val="1440"/>
                <c:pt idx="0">
                  <c:v>14257</c:v>
                </c:pt>
                <c:pt idx="1">
                  <c:v>14649</c:v>
                </c:pt>
                <c:pt idx="2">
                  <c:v>14768</c:v>
                </c:pt>
                <c:pt idx="3">
                  <c:v>14334</c:v>
                </c:pt>
                <c:pt idx="4">
                  <c:v>14316</c:v>
                </c:pt>
                <c:pt idx="5">
                  <c:v>14425</c:v>
                </c:pt>
                <c:pt idx="6">
                  <c:v>14489</c:v>
                </c:pt>
                <c:pt idx="7">
                  <c:v>14529</c:v>
                </c:pt>
                <c:pt idx="8">
                  <c:v>14539</c:v>
                </c:pt>
                <c:pt idx="9">
                  <c:v>14531</c:v>
                </c:pt>
                <c:pt idx="10">
                  <c:v>14517</c:v>
                </c:pt>
                <c:pt idx="11">
                  <c:v>14610</c:v>
                </c:pt>
                <c:pt idx="12">
                  <c:v>14291</c:v>
                </c:pt>
                <c:pt idx="13">
                  <c:v>14647</c:v>
                </c:pt>
                <c:pt idx="14">
                  <c:v>14278</c:v>
                </c:pt>
                <c:pt idx="15">
                  <c:v>14403</c:v>
                </c:pt>
                <c:pt idx="16">
                  <c:v>14951</c:v>
                </c:pt>
                <c:pt idx="17">
                  <c:v>14494</c:v>
                </c:pt>
                <c:pt idx="18">
                  <c:v>14561</c:v>
                </c:pt>
                <c:pt idx="19">
                  <c:v>14762</c:v>
                </c:pt>
                <c:pt idx="20">
                  <c:v>14907</c:v>
                </c:pt>
                <c:pt idx="21">
                  <c:v>14879</c:v>
                </c:pt>
                <c:pt idx="22">
                  <c:v>14960</c:v>
                </c:pt>
                <c:pt idx="23">
                  <c:v>14517</c:v>
                </c:pt>
                <c:pt idx="24">
                  <c:v>14794</c:v>
                </c:pt>
                <c:pt idx="25">
                  <c:v>15024</c:v>
                </c:pt>
                <c:pt idx="26">
                  <c:v>14889</c:v>
                </c:pt>
                <c:pt idx="27">
                  <c:v>14822</c:v>
                </c:pt>
                <c:pt idx="28">
                  <c:v>14510</c:v>
                </c:pt>
                <c:pt idx="29">
                  <c:v>14639</c:v>
                </c:pt>
                <c:pt idx="30">
                  <c:v>14760</c:v>
                </c:pt>
                <c:pt idx="31">
                  <c:v>14841</c:v>
                </c:pt>
                <c:pt idx="32">
                  <c:v>14948</c:v>
                </c:pt>
                <c:pt idx="33">
                  <c:v>15137</c:v>
                </c:pt>
                <c:pt idx="34">
                  <c:v>15172</c:v>
                </c:pt>
                <c:pt idx="35">
                  <c:v>15312</c:v>
                </c:pt>
                <c:pt idx="36">
                  <c:v>15079</c:v>
                </c:pt>
                <c:pt idx="37">
                  <c:v>15042</c:v>
                </c:pt>
                <c:pt idx="38">
                  <c:v>15457</c:v>
                </c:pt>
                <c:pt idx="39">
                  <c:v>15223</c:v>
                </c:pt>
                <c:pt idx="40">
                  <c:v>14748</c:v>
                </c:pt>
                <c:pt idx="41">
                  <c:v>15198</c:v>
                </c:pt>
                <c:pt idx="42">
                  <c:v>15148</c:v>
                </c:pt>
                <c:pt idx="43">
                  <c:v>14918</c:v>
                </c:pt>
                <c:pt idx="44">
                  <c:v>15087</c:v>
                </c:pt>
                <c:pt idx="45">
                  <c:v>15186</c:v>
                </c:pt>
                <c:pt idx="46">
                  <c:v>15235</c:v>
                </c:pt>
                <c:pt idx="47">
                  <c:v>15074</c:v>
                </c:pt>
                <c:pt idx="48">
                  <c:v>14704</c:v>
                </c:pt>
                <c:pt idx="49">
                  <c:v>15172</c:v>
                </c:pt>
                <c:pt idx="50">
                  <c:v>15130</c:v>
                </c:pt>
                <c:pt idx="51">
                  <c:v>15318</c:v>
                </c:pt>
                <c:pt idx="52">
                  <c:v>15218</c:v>
                </c:pt>
                <c:pt idx="53">
                  <c:v>15023</c:v>
                </c:pt>
                <c:pt idx="54">
                  <c:v>14544</c:v>
                </c:pt>
                <c:pt idx="55">
                  <c:v>14968</c:v>
                </c:pt>
                <c:pt idx="56">
                  <c:v>14728</c:v>
                </c:pt>
                <c:pt idx="57">
                  <c:v>14985</c:v>
                </c:pt>
                <c:pt idx="58">
                  <c:v>15209</c:v>
                </c:pt>
                <c:pt idx="59">
                  <c:v>15228</c:v>
                </c:pt>
                <c:pt idx="60">
                  <c:v>15482</c:v>
                </c:pt>
                <c:pt idx="61">
                  <c:v>15267</c:v>
                </c:pt>
                <c:pt idx="62">
                  <c:v>15154</c:v>
                </c:pt>
                <c:pt idx="63">
                  <c:v>14867</c:v>
                </c:pt>
                <c:pt idx="64">
                  <c:v>14628</c:v>
                </c:pt>
                <c:pt idx="65">
                  <c:v>14773</c:v>
                </c:pt>
                <c:pt idx="66">
                  <c:v>15027</c:v>
                </c:pt>
                <c:pt idx="67">
                  <c:v>14549</c:v>
                </c:pt>
                <c:pt idx="68">
                  <c:v>14925</c:v>
                </c:pt>
                <c:pt idx="69">
                  <c:v>14860</c:v>
                </c:pt>
                <c:pt idx="70">
                  <c:v>14834</c:v>
                </c:pt>
                <c:pt idx="71">
                  <c:v>14812</c:v>
                </c:pt>
                <c:pt idx="72">
                  <c:v>15070</c:v>
                </c:pt>
                <c:pt idx="73">
                  <c:v>14821</c:v>
                </c:pt>
                <c:pt idx="74">
                  <c:v>14733</c:v>
                </c:pt>
                <c:pt idx="75">
                  <c:v>14947</c:v>
                </c:pt>
                <c:pt idx="76">
                  <c:v>14777</c:v>
                </c:pt>
                <c:pt idx="77">
                  <c:v>14688</c:v>
                </c:pt>
                <c:pt idx="78">
                  <c:v>14281</c:v>
                </c:pt>
                <c:pt idx="79">
                  <c:v>14460</c:v>
                </c:pt>
                <c:pt idx="80">
                  <c:v>13945</c:v>
                </c:pt>
                <c:pt idx="81">
                  <c:v>14552</c:v>
                </c:pt>
                <c:pt idx="82">
                  <c:v>14321</c:v>
                </c:pt>
                <c:pt idx="83">
                  <c:v>14459</c:v>
                </c:pt>
                <c:pt idx="84">
                  <c:v>14208</c:v>
                </c:pt>
                <c:pt idx="85">
                  <c:v>14344</c:v>
                </c:pt>
                <c:pt idx="86">
                  <c:v>13926</c:v>
                </c:pt>
                <c:pt idx="87">
                  <c:v>14042</c:v>
                </c:pt>
                <c:pt idx="88">
                  <c:v>13939</c:v>
                </c:pt>
                <c:pt idx="89">
                  <c:v>13852</c:v>
                </c:pt>
                <c:pt idx="90">
                  <c:v>13888</c:v>
                </c:pt>
                <c:pt idx="91">
                  <c:v>13351</c:v>
                </c:pt>
                <c:pt idx="92">
                  <c:v>13125</c:v>
                </c:pt>
                <c:pt idx="93">
                  <c:v>13258</c:v>
                </c:pt>
                <c:pt idx="94">
                  <c:v>13053</c:v>
                </c:pt>
                <c:pt idx="95">
                  <c:v>12957</c:v>
                </c:pt>
                <c:pt idx="96">
                  <c:v>13306</c:v>
                </c:pt>
                <c:pt idx="97">
                  <c:v>12774</c:v>
                </c:pt>
                <c:pt idx="98">
                  <c:v>13086</c:v>
                </c:pt>
                <c:pt idx="99">
                  <c:v>12749</c:v>
                </c:pt>
                <c:pt idx="100">
                  <c:v>12756</c:v>
                </c:pt>
                <c:pt idx="101">
                  <c:v>13041</c:v>
                </c:pt>
                <c:pt idx="102">
                  <c:v>12543</c:v>
                </c:pt>
                <c:pt idx="103">
                  <c:v>12858</c:v>
                </c:pt>
                <c:pt idx="104">
                  <c:v>12761</c:v>
                </c:pt>
                <c:pt idx="105">
                  <c:v>12746</c:v>
                </c:pt>
                <c:pt idx="106">
                  <c:v>12623</c:v>
                </c:pt>
                <c:pt idx="107">
                  <c:v>12718</c:v>
                </c:pt>
                <c:pt idx="108">
                  <c:v>12489</c:v>
                </c:pt>
                <c:pt idx="109">
                  <c:v>12486</c:v>
                </c:pt>
                <c:pt idx="110">
                  <c:v>12444</c:v>
                </c:pt>
                <c:pt idx="111">
                  <c:v>12584</c:v>
                </c:pt>
                <c:pt idx="112">
                  <c:v>12385</c:v>
                </c:pt>
                <c:pt idx="113">
                  <c:v>12186</c:v>
                </c:pt>
                <c:pt idx="114">
                  <c:v>12252</c:v>
                </c:pt>
                <c:pt idx="115">
                  <c:v>12397</c:v>
                </c:pt>
                <c:pt idx="116">
                  <c:v>12356</c:v>
                </c:pt>
                <c:pt idx="117">
                  <c:v>12151</c:v>
                </c:pt>
                <c:pt idx="118">
                  <c:v>12162</c:v>
                </c:pt>
                <c:pt idx="119">
                  <c:v>12031</c:v>
                </c:pt>
                <c:pt idx="120">
                  <c:v>11764</c:v>
                </c:pt>
                <c:pt idx="121">
                  <c:v>11335</c:v>
                </c:pt>
                <c:pt idx="122">
                  <c:v>11458</c:v>
                </c:pt>
                <c:pt idx="123">
                  <c:v>11703</c:v>
                </c:pt>
                <c:pt idx="124">
                  <c:v>11461</c:v>
                </c:pt>
                <c:pt idx="125">
                  <c:v>11783</c:v>
                </c:pt>
                <c:pt idx="126">
                  <c:v>11494</c:v>
                </c:pt>
                <c:pt idx="127">
                  <c:v>11438</c:v>
                </c:pt>
                <c:pt idx="128">
                  <c:v>11491</c:v>
                </c:pt>
                <c:pt idx="129">
                  <c:v>11480</c:v>
                </c:pt>
                <c:pt idx="130">
                  <c:v>11718</c:v>
                </c:pt>
                <c:pt idx="131">
                  <c:v>11254</c:v>
                </c:pt>
                <c:pt idx="132">
                  <c:v>11242</c:v>
                </c:pt>
                <c:pt idx="133">
                  <c:v>11166</c:v>
                </c:pt>
                <c:pt idx="134">
                  <c:v>11265</c:v>
                </c:pt>
                <c:pt idx="135">
                  <c:v>10873</c:v>
                </c:pt>
                <c:pt idx="136">
                  <c:v>10962</c:v>
                </c:pt>
                <c:pt idx="137">
                  <c:v>11147</c:v>
                </c:pt>
                <c:pt idx="138">
                  <c:v>11186</c:v>
                </c:pt>
                <c:pt idx="139">
                  <c:v>10953</c:v>
                </c:pt>
                <c:pt idx="140">
                  <c:v>10757</c:v>
                </c:pt>
                <c:pt idx="141">
                  <c:v>10664</c:v>
                </c:pt>
                <c:pt idx="142">
                  <c:v>10813</c:v>
                </c:pt>
                <c:pt idx="143">
                  <c:v>11098</c:v>
                </c:pt>
                <c:pt idx="144">
                  <c:v>11101</c:v>
                </c:pt>
                <c:pt idx="145">
                  <c:v>10964</c:v>
                </c:pt>
                <c:pt idx="146">
                  <c:v>10645</c:v>
                </c:pt>
                <c:pt idx="147">
                  <c:v>10411</c:v>
                </c:pt>
                <c:pt idx="148">
                  <c:v>10820</c:v>
                </c:pt>
                <c:pt idx="149">
                  <c:v>10735</c:v>
                </c:pt>
                <c:pt idx="150">
                  <c:v>10386</c:v>
                </c:pt>
                <c:pt idx="151">
                  <c:v>10478</c:v>
                </c:pt>
                <c:pt idx="152">
                  <c:v>10228</c:v>
                </c:pt>
                <c:pt idx="153">
                  <c:v>10428</c:v>
                </c:pt>
                <c:pt idx="154">
                  <c:v>10468</c:v>
                </c:pt>
                <c:pt idx="155">
                  <c:v>10299</c:v>
                </c:pt>
                <c:pt idx="156">
                  <c:v>10363</c:v>
                </c:pt>
                <c:pt idx="157">
                  <c:v>10126</c:v>
                </c:pt>
                <c:pt idx="158">
                  <c:v>10306</c:v>
                </c:pt>
                <c:pt idx="159">
                  <c:v>10264</c:v>
                </c:pt>
                <c:pt idx="160">
                  <c:v>10269</c:v>
                </c:pt>
                <c:pt idx="161">
                  <c:v>10131</c:v>
                </c:pt>
                <c:pt idx="162">
                  <c:v>10128</c:v>
                </c:pt>
                <c:pt idx="163">
                  <c:v>10288</c:v>
                </c:pt>
                <c:pt idx="164">
                  <c:v>10132</c:v>
                </c:pt>
                <c:pt idx="165">
                  <c:v>10326</c:v>
                </c:pt>
                <c:pt idx="166">
                  <c:v>10083</c:v>
                </c:pt>
                <c:pt idx="167">
                  <c:v>10211</c:v>
                </c:pt>
                <c:pt idx="168">
                  <c:v>10044</c:v>
                </c:pt>
                <c:pt idx="169">
                  <c:v>9836</c:v>
                </c:pt>
                <c:pt idx="170">
                  <c:v>10205</c:v>
                </c:pt>
                <c:pt idx="171">
                  <c:v>9986</c:v>
                </c:pt>
                <c:pt idx="172">
                  <c:v>9788</c:v>
                </c:pt>
                <c:pt idx="173">
                  <c:v>10081</c:v>
                </c:pt>
                <c:pt idx="174">
                  <c:v>10005</c:v>
                </c:pt>
                <c:pt idx="175">
                  <c:v>9857</c:v>
                </c:pt>
                <c:pt idx="176">
                  <c:v>9798</c:v>
                </c:pt>
                <c:pt idx="177">
                  <c:v>9629</c:v>
                </c:pt>
                <c:pt idx="178">
                  <c:v>10055</c:v>
                </c:pt>
                <c:pt idx="179">
                  <c:v>9665</c:v>
                </c:pt>
                <c:pt idx="180">
                  <c:v>9688</c:v>
                </c:pt>
                <c:pt idx="181">
                  <c:v>9709</c:v>
                </c:pt>
                <c:pt idx="182">
                  <c:v>9392</c:v>
                </c:pt>
                <c:pt idx="183">
                  <c:v>9440</c:v>
                </c:pt>
                <c:pt idx="184">
                  <c:v>9695</c:v>
                </c:pt>
                <c:pt idx="185">
                  <c:v>9598</c:v>
                </c:pt>
                <c:pt idx="186">
                  <c:v>9357</c:v>
                </c:pt>
                <c:pt idx="187">
                  <c:v>9540</c:v>
                </c:pt>
                <c:pt idx="188">
                  <c:v>9273</c:v>
                </c:pt>
                <c:pt idx="189">
                  <c:v>9155</c:v>
                </c:pt>
                <c:pt idx="190">
                  <c:v>9123</c:v>
                </c:pt>
                <c:pt idx="191">
                  <c:v>8930</c:v>
                </c:pt>
                <c:pt idx="192">
                  <c:v>8993</c:v>
                </c:pt>
                <c:pt idx="193">
                  <c:v>9296</c:v>
                </c:pt>
                <c:pt idx="194">
                  <c:v>9361</c:v>
                </c:pt>
                <c:pt idx="195">
                  <c:v>8929</c:v>
                </c:pt>
                <c:pt idx="196">
                  <c:v>9021</c:v>
                </c:pt>
                <c:pt idx="197">
                  <c:v>9320</c:v>
                </c:pt>
                <c:pt idx="198">
                  <c:v>8948</c:v>
                </c:pt>
                <c:pt idx="199">
                  <c:v>9050</c:v>
                </c:pt>
                <c:pt idx="200">
                  <c:v>8823</c:v>
                </c:pt>
                <c:pt idx="201">
                  <c:v>8866</c:v>
                </c:pt>
                <c:pt idx="202">
                  <c:v>9290</c:v>
                </c:pt>
                <c:pt idx="203">
                  <c:v>8889</c:v>
                </c:pt>
                <c:pt idx="204">
                  <c:v>8984</c:v>
                </c:pt>
                <c:pt idx="205">
                  <c:v>9020</c:v>
                </c:pt>
                <c:pt idx="206">
                  <c:v>9190</c:v>
                </c:pt>
                <c:pt idx="207">
                  <c:v>8587</c:v>
                </c:pt>
                <c:pt idx="208">
                  <c:v>8649</c:v>
                </c:pt>
                <c:pt idx="209">
                  <c:v>8409</c:v>
                </c:pt>
                <c:pt idx="210">
                  <c:v>8615</c:v>
                </c:pt>
                <c:pt idx="211">
                  <c:v>8481</c:v>
                </c:pt>
                <c:pt idx="212">
                  <c:v>9051</c:v>
                </c:pt>
                <c:pt idx="213">
                  <c:v>8467</c:v>
                </c:pt>
                <c:pt idx="214">
                  <c:v>8685</c:v>
                </c:pt>
                <c:pt idx="215">
                  <c:v>8456</c:v>
                </c:pt>
                <c:pt idx="216">
                  <c:v>8406</c:v>
                </c:pt>
                <c:pt idx="217">
                  <c:v>8436</c:v>
                </c:pt>
                <c:pt idx="218">
                  <c:v>8159</c:v>
                </c:pt>
                <c:pt idx="219">
                  <c:v>8444</c:v>
                </c:pt>
                <c:pt idx="220">
                  <c:v>8520</c:v>
                </c:pt>
                <c:pt idx="221">
                  <c:v>8297</c:v>
                </c:pt>
                <c:pt idx="222">
                  <c:v>8392</c:v>
                </c:pt>
                <c:pt idx="223">
                  <c:v>8514</c:v>
                </c:pt>
                <c:pt idx="224">
                  <c:v>8355</c:v>
                </c:pt>
                <c:pt idx="225">
                  <c:v>8833</c:v>
                </c:pt>
                <c:pt idx="226">
                  <c:v>8530</c:v>
                </c:pt>
                <c:pt idx="227">
                  <c:v>8574</c:v>
                </c:pt>
                <c:pt idx="228">
                  <c:v>8597</c:v>
                </c:pt>
                <c:pt idx="229">
                  <c:v>8342</c:v>
                </c:pt>
                <c:pt idx="230">
                  <c:v>8692</c:v>
                </c:pt>
                <c:pt idx="231">
                  <c:v>8557</c:v>
                </c:pt>
                <c:pt idx="232">
                  <c:v>8696</c:v>
                </c:pt>
                <c:pt idx="233">
                  <c:v>8998</c:v>
                </c:pt>
                <c:pt idx="234">
                  <c:v>8396</c:v>
                </c:pt>
                <c:pt idx="235">
                  <c:v>8684</c:v>
                </c:pt>
                <c:pt idx="236">
                  <c:v>8650</c:v>
                </c:pt>
                <c:pt idx="237">
                  <c:v>8749</c:v>
                </c:pt>
                <c:pt idx="238">
                  <c:v>8524</c:v>
                </c:pt>
                <c:pt idx="239">
                  <c:v>8634</c:v>
                </c:pt>
                <c:pt idx="240">
                  <c:v>8682</c:v>
                </c:pt>
                <c:pt idx="241">
                  <c:v>8580</c:v>
                </c:pt>
                <c:pt idx="242">
                  <c:v>8537</c:v>
                </c:pt>
                <c:pt idx="243">
                  <c:v>8526</c:v>
                </c:pt>
                <c:pt idx="244">
                  <c:v>8649</c:v>
                </c:pt>
                <c:pt idx="245">
                  <c:v>8433</c:v>
                </c:pt>
                <c:pt idx="246">
                  <c:v>8335</c:v>
                </c:pt>
                <c:pt idx="247">
                  <c:v>8417</c:v>
                </c:pt>
                <c:pt idx="248">
                  <c:v>8517</c:v>
                </c:pt>
                <c:pt idx="249">
                  <c:v>8445</c:v>
                </c:pt>
                <c:pt idx="250">
                  <c:v>8370</c:v>
                </c:pt>
                <c:pt idx="251">
                  <c:v>8405</c:v>
                </c:pt>
                <c:pt idx="252">
                  <c:v>8435</c:v>
                </c:pt>
                <c:pt idx="253">
                  <c:v>8652</c:v>
                </c:pt>
                <c:pt idx="254">
                  <c:v>8588</c:v>
                </c:pt>
                <c:pt idx="255">
                  <c:v>8592</c:v>
                </c:pt>
                <c:pt idx="256">
                  <c:v>8720</c:v>
                </c:pt>
                <c:pt idx="257">
                  <c:v>8576</c:v>
                </c:pt>
                <c:pt idx="258">
                  <c:v>8410</c:v>
                </c:pt>
                <c:pt idx="259">
                  <c:v>8267</c:v>
                </c:pt>
                <c:pt idx="260">
                  <c:v>8262</c:v>
                </c:pt>
                <c:pt idx="261">
                  <c:v>8753</c:v>
                </c:pt>
                <c:pt idx="262">
                  <c:v>8601</c:v>
                </c:pt>
                <c:pt idx="263">
                  <c:v>8520</c:v>
                </c:pt>
                <c:pt idx="264">
                  <c:v>8682</c:v>
                </c:pt>
                <c:pt idx="265">
                  <c:v>8307</c:v>
                </c:pt>
                <c:pt idx="266">
                  <c:v>8472</c:v>
                </c:pt>
                <c:pt idx="267">
                  <c:v>8362</c:v>
                </c:pt>
                <c:pt idx="268">
                  <c:v>8471</c:v>
                </c:pt>
                <c:pt idx="269">
                  <c:v>8591</c:v>
                </c:pt>
                <c:pt idx="270">
                  <c:v>8527</c:v>
                </c:pt>
                <c:pt idx="271">
                  <c:v>8608</c:v>
                </c:pt>
                <c:pt idx="272">
                  <c:v>9049</c:v>
                </c:pt>
                <c:pt idx="273">
                  <c:v>8379</c:v>
                </c:pt>
                <c:pt idx="274">
                  <c:v>8459</c:v>
                </c:pt>
                <c:pt idx="275">
                  <c:v>8729</c:v>
                </c:pt>
                <c:pt idx="276">
                  <c:v>8642</c:v>
                </c:pt>
                <c:pt idx="277">
                  <c:v>8742</c:v>
                </c:pt>
                <c:pt idx="278">
                  <c:v>8807</c:v>
                </c:pt>
                <c:pt idx="279">
                  <c:v>8655</c:v>
                </c:pt>
                <c:pt idx="280">
                  <c:v>8674</c:v>
                </c:pt>
                <c:pt idx="281">
                  <c:v>9000</c:v>
                </c:pt>
                <c:pt idx="282">
                  <c:v>9050</c:v>
                </c:pt>
                <c:pt idx="283">
                  <c:v>8751</c:v>
                </c:pt>
                <c:pt idx="284">
                  <c:v>8595</c:v>
                </c:pt>
                <c:pt idx="285">
                  <c:v>8577</c:v>
                </c:pt>
                <c:pt idx="286">
                  <c:v>8798</c:v>
                </c:pt>
                <c:pt idx="287">
                  <c:v>8905</c:v>
                </c:pt>
                <c:pt idx="288">
                  <c:v>8880</c:v>
                </c:pt>
                <c:pt idx="289">
                  <c:v>9174</c:v>
                </c:pt>
                <c:pt idx="290">
                  <c:v>8569</c:v>
                </c:pt>
                <c:pt idx="291">
                  <c:v>8699</c:v>
                </c:pt>
                <c:pt idx="292">
                  <c:v>8587</c:v>
                </c:pt>
                <c:pt idx="293">
                  <c:v>9092</c:v>
                </c:pt>
                <c:pt idx="294">
                  <c:v>8568</c:v>
                </c:pt>
                <c:pt idx="295">
                  <c:v>8621</c:v>
                </c:pt>
                <c:pt idx="296">
                  <c:v>9045</c:v>
                </c:pt>
                <c:pt idx="297">
                  <c:v>8866</c:v>
                </c:pt>
                <c:pt idx="298">
                  <c:v>8889</c:v>
                </c:pt>
                <c:pt idx="299">
                  <c:v>9080</c:v>
                </c:pt>
                <c:pt idx="300">
                  <c:v>8808</c:v>
                </c:pt>
                <c:pt idx="301">
                  <c:v>8897</c:v>
                </c:pt>
                <c:pt idx="302">
                  <c:v>8889</c:v>
                </c:pt>
                <c:pt idx="303">
                  <c:v>8759</c:v>
                </c:pt>
                <c:pt idx="304">
                  <c:v>8766</c:v>
                </c:pt>
                <c:pt idx="305">
                  <c:v>8920</c:v>
                </c:pt>
                <c:pt idx="306">
                  <c:v>8174</c:v>
                </c:pt>
                <c:pt idx="307">
                  <c:v>8427</c:v>
                </c:pt>
                <c:pt idx="308">
                  <c:v>8672</c:v>
                </c:pt>
                <c:pt idx="309">
                  <c:v>8504</c:v>
                </c:pt>
                <c:pt idx="310">
                  <c:v>8661</c:v>
                </c:pt>
                <c:pt idx="311">
                  <c:v>8549</c:v>
                </c:pt>
                <c:pt idx="312">
                  <c:v>8839</c:v>
                </c:pt>
                <c:pt idx="313">
                  <c:v>8880</c:v>
                </c:pt>
                <c:pt idx="314">
                  <c:v>8905</c:v>
                </c:pt>
                <c:pt idx="315">
                  <c:v>8526</c:v>
                </c:pt>
                <c:pt idx="316">
                  <c:v>8509</c:v>
                </c:pt>
                <c:pt idx="317">
                  <c:v>8694</c:v>
                </c:pt>
                <c:pt idx="318">
                  <c:v>8586</c:v>
                </c:pt>
                <c:pt idx="319">
                  <c:v>8558</c:v>
                </c:pt>
                <c:pt idx="320">
                  <c:v>8632</c:v>
                </c:pt>
                <c:pt idx="321">
                  <c:v>9163</c:v>
                </c:pt>
                <c:pt idx="322">
                  <c:v>8857</c:v>
                </c:pt>
                <c:pt idx="323">
                  <c:v>8046</c:v>
                </c:pt>
                <c:pt idx="324">
                  <c:v>8405</c:v>
                </c:pt>
                <c:pt idx="325">
                  <c:v>8848</c:v>
                </c:pt>
                <c:pt idx="326">
                  <c:v>8932</c:v>
                </c:pt>
                <c:pt idx="327">
                  <c:v>8673</c:v>
                </c:pt>
                <c:pt idx="328">
                  <c:v>8782</c:v>
                </c:pt>
                <c:pt idx="329">
                  <c:v>8647</c:v>
                </c:pt>
                <c:pt idx="330">
                  <c:v>8738</c:v>
                </c:pt>
                <c:pt idx="331">
                  <c:v>8985</c:v>
                </c:pt>
                <c:pt idx="332">
                  <c:v>8700</c:v>
                </c:pt>
                <c:pt idx="333">
                  <c:v>8718</c:v>
                </c:pt>
                <c:pt idx="334">
                  <c:v>8976</c:v>
                </c:pt>
                <c:pt idx="335">
                  <c:v>9199</c:v>
                </c:pt>
                <c:pt idx="336">
                  <c:v>9135</c:v>
                </c:pt>
                <c:pt idx="337">
                  <c:v>9563</c:v>
                </c:pt>
                <c:pt idx="338">
                  <c:v>9164</c:v>
                </c:pt>
                <c:pt idx="339">
                  <c:v>9143</c:v>
                </c:pt>
                <c:pt idx="340">
                  <c:v>9062</c:v>
                </c:pt>
                <c:pt idx="341">
                  <c:v>9136</c:v>
                </c:pt>
                <c:pt idx="342">
                  <c:v>9001</c:v>
                </c:pt>
                <c:pt idx="343">
                  <c:v>8692</c:v>
                </c:pt>
                <c:pt idx="344">
                  <c:v>8880</c:v>
                </c:pt>
                <c:pt idx="345">
                  <c:v>8901</c:v>
                </c:pt>
                <c:pt idx="346">
                  <c:v>9025</c:v>
                </c:pt>
                <c:pt idx="347">
                  <c:v>8903</c:v>
                </c:pt>
                <c:pt idx="348">
                  <c:v>9347</c:v>
                </c:pt>
                <c:pt idx="349">
                  <c:v>9018</c:v>
                </c:pt>
                <c:pt idx="350">
                  <c:v>9209</c:v>
                </c:pt>
                <c:pt idx="351">
                  <c:v>9325</c:v>
                </c:pt>
                <c:pt idx="352">
                  <c:v>9345</c:v>
                </c:pt>
                <c:pt idx="353">
                  <c:v>9350</c:v>
                </c:pt>
                <c:pt idx="354">
                  <c:v>9820</c:v>
                </c:pt>
                <c:pt idx="355">
                  <c:v>9490</c:v>
                </c:pt>
                <c:pt idx="356">
                  <c:v>9335</c:v>
                </c:pt>
                <c:pt idx="357">
                  <c:v>9295</c:v>
                </c:pt>
                <c:pt idx="358">
                  <c:v>9451</c:v>
                </c:pt>
                <c:pt idx="359">
                  <c:v>9644</c:v>
                </c:pt>
                <c:pt idx="360">
                  <c:v>9396</c:v>
                </c:pt>
                <c:pt idx="361">
                  <c:v>9448</c:v>
                </c:pt>
                <c:pt idx="362">
                  <c:v>9199</c:v>
                </c:pt>
                <c:pt idx="363">
                  <c:v>9532</c:v>
                </c:pt>
                <c:pt idx="364">
                  <c:v>9554</c:v>
                </c:pt>
                <c:pt idx="365">
                  <c:v>9242</c:v>
                </c:pt>
                <c:pt idx="366">
                  <c:v>9448</c:v>
                </c:pt>
                <c:pt idx="367">
                  <c:v>9702</c:v>
                </c:pt>
                <c:pt idx="368">
                  <c:v>8948</c:v>
                </c:pt>
                <c:pt idx="369">
                  <c:v>8996</c:v>
                </c:pt>
                <c:pt idx="370">
                  <c:v>8849</c:v>
                </c:pt>
                <c:pt idx="371">
                  <c:v>8908</c:v>
                </c:pt>
                <c:pt idx="372">
                  <c:v>9109</c:v>
                </c:pt>
                <c:pt idx="373">
                  <c:v>9211</c:v>
                </c:pt>
                <c:pt idx="374">
                  <c:v>8890</c:v>
                </c:pt>
                <c:pt idx="375">
                  <c:v>8946</c:v>
                </c:pt>
                <c:pt idx="376">
                  <c:v>9162</c:v>
                </c:pt>
                <c:pt idx="377">
                  <c:v>9089</c:v>
                </c:pt>
                <c:pt idx="378">
                  <c:v>9389</c:v>
                </c:pt>
                <c:pt idx="379">
                  <c:v>9046</c:v>
                </c:pt>
                <c:pt idx="380">
                  <c:v>9047</c:v>
                </c:pt>
                <c:pt idx="381">
                  <c:v>9252</c:v>
                </c:pt>
                <c:pt idx="382">
                  <c:v>9218</c:v>
                </c:pt>
                <c:pt idx="383">
                  <c:v>9116</c:v>
                </c:pt>
                <c:pt idx="384">
                  <c:v>9115</c:v>
                </c:pt>
                <c:pt idx="385">
                  <c:v>9060</c:v>
                </c:pt>
                <c:pt idx="386">
                  <c:v>8948</c:v>
                </c:pt>
                <c:pt idx="387">
                  <c:v>8828</c:v>
                </c:pt>
                <c:pt idx="388">
                  <c:v>9312</c:v>
                </c:pt>
                <c:pt idx="389">
                  <c:v>8690</c:v>
                </c:pt>
                <c:pt idx="390">
                  <c:v>8987</c:v>
                </c:pt>
                <c:pt idx="391">
                  <c:v>9001</c:v>
                </c:pt>
                <c:pt idx="392">
                  <c:v>8557</c:v>
                </c:pt>
                <c:pt idx="393">
                  <c:v>8779</c:v>
                </c:pt>
                <c:pt idx="394">
                  <c:v>9045</c:v>
                </c:pt>
                <c:pt idx="395">
                  <c:v>9031</c:v>
                </c:pt>
                <c:pt idx="396">
                  <c:v>9398</c:v>
                </c:pt>
                <c:pt idx="397">
                  <c:v>9235</c:v>
                </c:pt>
                <c:pt idx="398">
                  <c:v>8803</c:v>
                </c:pt>
                <c:pt idx="399">
                  <c:v>9074</c:v>
                </c:pt>
                <c:pt idx="400">
                  <c:v>9146</c:v>
                </c:pt>
                <c:pt idx="401">
                  <c:v>9314</c:v>
                </c:pt>
                <c:pt idx="402">
                  <c:v>9138</c:v>
                </c:pt>
                <c:pt idx="403">
                  <c:v>8930</c:v>
                </c:pt>
                <c:pt idx="404">
                  <c:v>8633</c:v>
                </c:pt>
                <c:pt idx="405">
                  <c:v>8791</c:v>
                </c:pt>
                <c:pt idx="406">
                  <c:v>9104</c:v>
                </c:pt>
                <c:pt idx="407">
                  <c:v>9044</c:v>
                </c:pt>
                <c:pt idx="408">
                  <c:v>8950</c:v>
                </c:pt>
                <c:pt idx="409">
                  <c:v>8947</c:v>
                </c:pt>
                <c:pt idx="410">
                  <c:v>8719</c:v>
                </c:pt>
                <c:pt idx="411">
                  <c:v>8939</c:v>
                </c:pt>
                <c:pt idx="412">
                  <c:v>8721</c:v>
                </c:pt>
                <c:pt idx="413">
                  <c:v>8929</c:v>
                </c:pt>
                <c:pt idx="414">
                  <c:v>9086</c:v>
                </c:pt>
                <c:pt idx="415">
                  <c:v>9288</c:v>
                </c:pt>
                <c:pt idx="416">
                  <c:v>8771</c:v>
                </c:pt>
                <c:pt idx="417">
                  <c:v>8957</c:v>
                </c:pt>
                <c:pt idx="418">
                  <c:v>8925</c:v>
                </c:pt>
                <c:pt idx="419">
                  <c:v>9155</c:v>
                </c:pt>
                <c:pt idx="420">
                  <c:v>9037</c:v>
                </c:pt>
                <c:pt idx="421">
                  <c:v>9001</c:v>
                </c:pt>
                <c:pt idx="422">
                  <c:v>9220</c:v>
                </c:pt>
                <c:pt idx="423">
                  <c:v>8607</c:v>
                </c:pt>
                <c:pt idx="424">
                  <c:v>8906</c:v>
                </c:pt>
                <c:pt idx="425">
                  <c:v>8926</c:v>
                </c:pt>
                <c:pt idx="426">
                  <c:v>9236</c:v>
                </c:pt>
                <c:pt idx="427">
                  <c:v>8822</c:v>
                </c:pt>
                <c:pt idx="428">
                  <c:v>8653</c:v>
                </c:pt>
                <c:pt idx="429">
                  <c:v>8862</c:v>
                </c:pt>
                <c:pt idx="430">
                  <c:v>8962</c:v>
                </c:pt>
                <c:pt idx="431">
                  <c:v>9051</c:v>
                </c:pt>
                <c:pt idx="432">
                  <c:v>8638</c:v>
                </c:pt>
                <c:pt idx="433">
                  <c:v>9077</c:v>
                </c:pt>
                <c:pt idx="434">
                  <c:v>9378</c:v>
                </c:pt>
                <c:pt idx="435">
                  <c:v>9413</c:v>
                </c:pt>
                <c:pt idx="436">
                  <c:v>9165</c:v>
                </c:pt>
                <c:pt idx="437">
                  <c:v>8331</c:v>
                </c:pt>
                <c:pt idx="438">
                  <c:v>8098</c:v>
                </c:pt>
                <c:pt idx="439">
                  <c:v>8287</c:v>
                </c:pt>
                <c:pt idx="440">
                  <c:v>8546</c:v>
                </c:pt>
                <c:pt idx="441">
                  <c:v>8605</c:v>
                </c:pt>
                <c:pt idx="442">
                  <c:v>8367</c:v>
                </c:pt>
                <c:pt idx="443">
                  <c:v>8500</c:v>
                </c:pt>
                <c:pt idx="444">
                  <c:v>8401</c:v>
                </c:pt>
                <c:pt idx="445">
                  <c:v>8616</c:v>
                </c:pt>
                <c:pt idx="446">
                  <c:v>8627</c:v>
                </c:pt>
                <c:pt idx="447">
                  <c:v>8511</c:v>
                </c:pt>
                <c:pt idx="448">
                  <c:v>8282</c:v>
                </c:pt>
                <c:pt idx="449">
                  <c:v>8336</c:v>
                </c:pt>
                <c:pt idx="450">
                  <c:v>8417</c:v>
                </c:pt>
                <c:pt idx="451">
                  <c:v>8405</c:v>
                </c:pt>
                <c:pt idx="452">
                  <c:v>8017</c:v>
                </c:pt>
                <c:pt idx="453">
                  <c:v>7855</c:v>
                </c:pt>
                <c:pt idx="454">
                  <c:v>7894</c:v>
                </c:pt>
                <c:pt idx="455">
                  <c:v>8387</c:v>
                </c:pt>
                <c:pt idx="456">
                  <c:v>8199</c:v>
                </c:pt>
                <c:pt idx="457">
                  <c:v>7968</c:v>
                </c:pt>
                <c:pt idx="458">
                  <c:v>8102</c:v>
                </c:pt>
                <c:pt idx="459">
                  <c:v>7889</c:v>
                </c:pt>
                <c:pt idx="460">
                  <c:v>8174</c:v>
                </c:pt>
                <c:pt idx="461">
                  <c:v>8014</c:v>
                </c:pt>
                <c:pt idx="462">
                  <c:v>7967</c:v>
                </c:pt>
                <c:pt idx="463">
                  <c:v>7946</c:v>
                </c:pt>
                <c:pt idx="464">
                  <c:v>7875</c:v>
                </c:pt>
                <c:pt idx="465">
                  <c:v>7738</c:v>
                </c:pt>
                <c:pt idx="466">
                  <c:v>7983</c:v>
                </c:pt>
                <c:pt idx="467">
                  <c:v>7692</c:v>
                </c:pt>
                <c:pt idx="468">
                  <c:v>7964</c:v>
                </c:pt>
                <c:pt idx="469">
                  <c:v>7969</c:v>
                </c:pt>
                <c:pt idx="470">
                  <c:v>7524</c:v>
                </c:pt>
                <c:pt idx="471">
                  <c:v>7707</c:v>
                </c:pt>
                <c:pt idx="472">
                  <c:v>7970</c:v>
                </c:pt>
                <c:pt idx="473">
                  <c:v>7825</c:v>
                </c:pt>
                <c:pt idx="474">
                  <c:v>7708</c:v>
                </c:pt>
                <c:pt idx="475">
                  <c:v>7985</c:v>
                </c:pt>
                <c:pt idx="476">
                  <c:v>7723</c:v>
                </c:pt>
                <c:pt idx="477">
                  <c:v>7908</c:v>
                </c:pt>
                <c:pt idx="478">
                  <c:v>7679</c:v>
                </c:pt>
                <c:pt idx="479">
                  <c:v>7524</c:v>
                </c:pt>
                <c:pt idx="480">
                  <c:v>7593</c:v>
                </c:pt>
                <c:pt idx="481">
                  <c:v>7666</c:v>
                </c:pt>
                <c:pt idx="482">
                  <c:v>7506</c:v>
                </c:pt>
                <c:pt idx="483">
                  <c:v>7351</c:v>
                </c:pt>
                <c:pt idx="484">
                  <c:v>7400</c:v>
                </c:pt>
                <c:pt idx="485">
                  <c:v>7576</c:v>
                </c:pt>
                <c:pt idx="486">
                  <c:v>7196</c:v>
                </c:pt>
                <c:pt idx="487">
                  <c:v>7323</c:v>
                </c:pt>
                <c:pt idx="488">
                  <c:v>7485</c:v>
                </c:pt>
                <c:pt idx="489">
                  <c:v>7405</c:v>
                </c:pt>
                <c:pt idx="490">
                  <c:v>7288</c:v>
                </c:pt>
                <c:pt idx="491">
                  <c:v>7365</c:v>
                </c:pt>
                <c:pt idx="492">
                  <c:v>7007</c:v>
                </c:pt>
                <c:pt idx="493">
                  <c:v>7008</c:v>
                </c:pt>
                <c:pt idx="494">
                  <c:v>6884</c:v>
                </c:pt>
                <c:pt idx="495">
                  <c:v>6963</c:v>
                </c:pt>
                <c:pt idx="496">
                  <c:v>7217</c:v>
                </c:pt>
                <c:pt idx="497">
                  <c:v>6540</c:v>
                </c:pt>
                <c:pt idx="498">
                  <c:v>6589</c:v>
                </c:pt>
                <c:pt idx="499">
                  <c:v>6518</c:v>
                </c:pt>
                <c:pt idx="500">
                  <c:v>6847</c:v>
                </c:pt>
                <c:pt idx="501">
                  <c:v>6740</c:v>
                </c:pt>
                <c:pt idx="502">
                  <c:v>6558</c:v>
                </c:pt>
                <c:pt idx="503">
                  <c:v>6857</c:v>
                </c:pt>
                <c:pt idx="504">
                  <c:v>6533</c:v>
                </c:pt>
                <c:pt idx="505">
                  <c:v>6731</c:v>
                </c:pt>
                <c:pt idx="506">
                  <c:v>6672</c:v>
                </c:pt>
                <c:pt idx="507">
                  <c:v>6474</c:v>
                </c:pt>
                <c:pt idx="508">
                  <c:v>6473</c:v>
                </c:pt>
                <c:pt idx="509">
                  <c:v>6723</c:v>
                </c:pt>
                <c:pt idx="510">
                  <c:v>6305</c:v>
                </c:pt>
                <c:pt idx="511">
                  <c:v>6175</c:v>
                </c:pt>
                <c:pt idx="512">
                  <c:v>6402</c:v>
                </c:pt>
                <c:pt idx="513">
                  <c:v>5977</c:v>
                </c:pt>
                <c:pt idx="514">
                  <c:v>6101</c:v>
                </c:pt>
                <c:pt idx="515">
                  <c:v>6175</c:v>
                </c:pt>
                <c:pt idx="516">
                  <c:v>6013</c:v>
                </c:pt>
                <c:pt idx="517">
                  <c:v>5833</c:v>
                </c:pt>
                <c:pt idx="518">
                  <c:v>6033</c:v>
                </c:pt>
                <c:pt idx="519">
                  <c:v>6039</c:v>
                </c:pt>
                <c:pt idx="520">
                  <c:v>5952</c:v>
                </c:pt>
                <c:pt idx="521">
                  <c:v>5710</c:v>
                </c:pt>
                <c:pt idx="522">
                  <c:v>6000</c:v>
                </c:pt>
                <c:pt idx="523">
                  <c:v>5928</c:v>
                </c:pt>
                <c:pt idx="524">
                  <c:v>5847</c:v>
                </c:pt>
                <c:pt idx="525">
                  <c:v>5892</c:v>
                </c:pt>
                <c:pt idx="526">
                  <c:v>5875</c:v>
                </c:pt>
                <c:pt idx="527">
                  <c:v>5797</c:v>
                </c:pt>
                <c:pt idx="528">
                  <c:v>6013</c:v>
                </c:pt>
                <c:pt idx="529">
                  <c:v>5739</c:v>
                </c:pt>
                <c:pt idx="530">
                  <c:v>5709</c:v>
                </c:pt>
                <c:pt idx="531">
                  <c:v>5471</c:v>
                </c:pt>
                <c:pt idx="532">
                  <c:v>5595</c:v>
                </c:pt>
                <c:pt idx="533">
                  <c:v>5585</c:v>
                </c:pt>
                <c:pt idx="534">
                  <c:v>5776</c:v>
                </c:pt>
                <c:pt idx="535">
                  <c:v>5395</c:v>
                </c:pt>
                <c:pt idx="536">
                  <c:v>5303</c:v>
                </c:pt>
                <c:pt idx="537">
                  <c:v>5065</c:v>
                </c:pt>
                <c:pt idx="538">
                  <c:v>5395</c:v>
                </c:pt>
                <c:pt idx="539">
                  <c:v>5244</c:v>
                </c:pt>
                <c:pt idx="540">
                  <c:v>5597</c:v>
                </c:pt>
                <c:pt idx="541">
                  <c:v>6437</c:v>
                </c:pt>
                <c:pt idx="542">
                  <c:v>5243</c:v>
                </c:pt>
                <c:pt idx="543">
                  <c:v>5234</c:v>
                </c:pt>
                <c:pt idx="544">
                  <c:v>5227</c:v>
                </c:pt>
                <c:pt idx="545">
                  <c:v>5211</c:v>
                </c:pt>
                <c:pt idx="546">
                  <c:v>5213</c:v>
                </c:pt>
                <c:pt idx="547">
                  <c:v>5203</c:v>
                </c:pt>
                <c:pt idx="548">
                  <c:v>5364</c:v>
                </c:pt>
                <c:pt idx="549">
                  <c:v>5017</c:v>
                </c:pt>
                <c:pt idx="550">
                  <c:v>5174</c:v>
                </c:pt>
                <c:pt idx="551">
                  <c:v>4914</c:v>
                </c:pt>
                <c:pt idx="552">
                  <c:v>4920</c:v>
                </c:pt>
                <c:pt idx="553">
                  <c:v>4876</c:v>
                </c:pt>
                <c:pt idx="554">
                  <c:v>4897</c:v>
                </c:pt>
                <c:pt idx="555">
                  <c:v>4777</c:v>
                </c:pt>
                <c:pt idx="556">
                  <c:v>4866</c:v>
                </c:pt>
                <c:pt idx="557">
                  <c:v>5051</c:v>
                </c:pt>
                <c:pt idx="558">
                  <c:v>4834</c:v>
                </c:pt>
                <c:pt idx="559">
                  <c:v>4781</c:v>
                </c:pt>
                <c:pt idx="560">
                  <c:v>4822</c:v>
                </c:pt>
                <c:pt idx="561">
                  <c:v>4891</c:v>
                </c:pt>
                <c:pt idx="562">
                  <c:v>4916</c:v>
                </c:pt>
                <c:pt idx="563">
                  <c:v>4850</c:v>
                </c:pt>
                <c:pt idx="564">
                  <c:v>4545</c:v>
                </c:pt>
                <c:pt idx="565">
                  <c:v>4782</c:v>
                </c:pt>
                <c:pt idx="566">
                  <c:v>4676</c:v>
                </c:pt>
                <c:pt idx="567">
                  <c:v>4635</c:v>
                </c:pt>
                <c:pt idx="568">
                  <c:v>4465</c:v>
                </c:pt>
                <c:pt idx="569">
                  <c:v>4684</c:v>
                </c:pt>
                <c:pt idx="570">
                  <c:v>4539</c:v>
                </c:pt>
                <c:pt idx="571">
                  <c:v>4506</c:v>
                </c:pt>
                <c:pt idx="572">
                  <c:v>4537</c:v>
                </c:pt>
                <c:pt idx="573">
                  <c:v>4430</c:v>
                </c:pt>
                <c:pt idx="574">
                  <c:v>4422</c:v>
                </c:pt>
                <c:pt idx="575">
                  <c:v>4237</c:v>
                </c:pt>
                <c:pt idx="576">
                  <c:v>4345</c:v>
                </c:pt>
                <c:pt idx="577">
                  <c:v>4220</c:v>
                </c:pt>
                <c:pt idx="578">
                  <c:v>4400</c:v>
                </c:pt>
                <c:pt idx="579">
                  <c:v>4281</c:v>
                </c:pt>
                <c:pt idx="580">
                  <c:v>4229</c:v>
                </c:pt>
                <c:pt idx="581">
                  <c:v>4263</c:v>
                </c:pt>
                <c:pt idx="582">
                  <c:v>4010</c:v>
                </c:pt>
                <c:pt idx="583">
                  <c:v>4094</c:v>
                </c:pt>
                <c:pt idx="584">
                  <c:v>4076</c:v>
                </c:pt>
                <c:pt idx="585">
                  <c:v>4153</c:v>
                </c:pt>
                <c:pt idx="586">
                  <c:v>4115</c:v>
                </c:pt>
                <c:pt idx="587">
                  <c:v>3951</c:v>
                </c:pt>
                <c:pt idx="588">
                  <c:v>4220</c:v>
                </c:pt>
                <c:pt idx="589">
                  <c:v>3804</c:v>
                </c:pt>
                <c:pt idx="590">
                  <c:v>3986</c:v>
                </c:pt>
                <c:pt idx="591">
                  <c:v>3989</c:v>
                </c:pt>
                <c:pt idx="592">
                  <c:v>3798</c:v>
                </c:pt>
                <c:pt idx="593">
                  <c:v>3776</c:v>
                </c:pt>
                <c:pt idx="594">
                  <c:v>3954</c:v>
                </c:pt>
                <c:pt idx="595">
                  <c:v>3772</c:v>
                </c:pt>
                <c:pt idx="596">
                  <c:v>3911</c:v>
                </c:pt>
                <c:pt idx="597">
                  <c:v>3842</c:v>
                </c:pt>
                <c:pt idx="598">
                  <c:v>3768</c:v>
                </c:pt>
                <c:pt idx="599">
                  <c:v>3950</c:v>
                </c:pt>
                <c:pt idx="600">
                  <c:v>3866</c:v>
                </c:pt>
                <c:pt idx="601">
                  <c:v>3712</c:v>
                </c:pt>
                <c:pt idx="602">
                  <c:v>3728</c:v>
                </c:pt>
                <c:pt idx="603">
                  <c:v>4056</c:v>
                </c:pt>
                <c:pt idx="604">
                  <c:v>3906</c:v>
                </c:pt>
                <c:pt idx="605">
                  <c:v>3876</c:v>
                </c:pt>
                <c:pt idx="606">
                  <c:v>3599</c:v>
                </c:pt>
                <c:pt idx="607">
                  <c:v>3500</c:v>
                </c:pt>
                <c:pt idx="608">
                  <c:v>3440</c:v>
                </c:pt>
                <c:pt idx="609">
                  <c:v>3554</c:v>
                </c:pt>
                <c:pt idx="610">
                  <c:v>3618</c:v>
                </c:pt>
                <c:pt idx="611">
                  <c:v>3519</c:v>
                </c:pt>
                <c:pt idx="612">
                  <c:v>3538</c:v>
                </c:pt>
                <c:pt idx="613">
                  <c:v>3296</c:v>
                </c:pt>
                <c:pt idx="614">
                  <c:v>3401</c:v>
                </c:pt>
                <c:pt idx="615">
                  <c:v>3264</c:v>
                </c:pt>
                <c:pt idx="616">
                  <c:v>3332</c:v>
                </c:pt>
                <c:pt idx="617">
                  <c:v>3185</c:v>
                </c:pt>
                <c:pt idx="618">
                  <c:v>3149</c:v>
                </c:pt>
                <c:pt idx="619">
                  <c:v>3292</c:v>
                </c:pt>
                <c:pt idx="620">
                  <c:v>3261</c:v>
                </c:pt>
                <c:pt idx="621">
                  <c:v>3334</c:v>
                </c:pt>
                <c:pt idx="622">
                  <c:v>3286</c:v>
                </c:pt>
                <c:pt idx="623">
                  <c:v>3195</c:v>
                </c:pt>
                <c:pt idx="624">
                  <c:v>3025</c:v>
                </c:pt>
                <c:pt idx="625">
                  <c:v>3045</c:v>
                </c:pt>
                <c:pt idx="626">
                  <c:v>3214</c:v>
                </c:pt>
                <c:pt idx="627">
                  <c:v>3268</c:v>
                </c:pt>
                <c:pt idx="628">
                  <c:v>3170</c:v>
                </c:pt>
                <c:pt idx="629">
                  <c:v>2922</c:v>
                </c:pt>
                <c:pt idx="630">
                  <c:v>2844</c:v>
                </c:pt>
                <c:pt idx="631">
                  <c:v>3168</c:v>
                </c:pt>
                <c:pt idx="632">
                  <c:v>2959</c:v>
                </c:pt>
                <c:pt idx="633">
                  <c:v>2991</c:v>
                </c:pt>
                <c:pt idx="634">
                  <c:v>2857</c:v>
                </c:pt>
                <c:pt idx="635">
                  <c:v>2885</c:v>
                </c:pt>
                <c:pt idx="636">
                  <c:v>2841</c:v>
                </c:pt>
                <c:pt idx="637">
                  <c:v>2823</c:v>
                </c:pt>
                <c:pt idx="638">
                  <c:v>2737</c:v>
                </c:pt>
                <c:pt idx="639">
                  <c:v>2752</c:v>
                </c:pt>
                <c:pt idx="640">
                  <c:v>2786</c:v>
                </c:pt>
                <c:pt idx="641">
                  <c:v>2840</c:v>
                </c:pt>
                <c:pt idx="642">
                  <c:v>2645</c:v>
                </c:pt>
                <c:pt idx="643">
                  <c:v>2711</c:v>
                </c:pt>
                <c:pt idx="644">
                  <c:v>2745</c:v>
                </c:pt>
                <c:pt idx="645">
                  <c:v>2591</c:v>
                </c:pt>
                <c:pt idx="646">
                  <c:v>2535</c:v>
                </c:pt>
                <c:pt idx="647">
                  <c:v>2594</c:v>
                </c:pt>
                <c:pt idx="648">
                  <c:v>2547</c:v>
                </c:pt>
                <c:pt idx="649">
                  <c:v>2690</c:v>
                </c:pt>
                <c:pt idx="650">
                  <c:v>2638</c:v>
                </c:pt>
                <c:pt idx="651">
                  <c:v>2639</c:v>
                </c:pt>
                <c:pt idx="652">
                  <c:v>2671</c:v>
                </c:pt>
                <c:pt idx="653">
                  <c:v>2486</c:v>
                </c:pt>
                <c:pt idx="654">
                  <c:v>2657</c:v>
                </c:pt>
                <c:pt idx="655">
                  <c:v>2636</c:v>
                </c:pt>
                <c:pt idx="656">
                  <c:v>2618</c:v>
                </c:pt>
                <c:pt idx="657">
                  <c:v>2477</c:v>
                </c:pt>
                <c:pt idx="658">
                  <c:v>2494</c:v>
                </c:pt>
                <c:pt idx="659">
                  <c:v>2450</c:v>
                </c:pt>
                <c:pt idx="660">
                  <c:v>2565</c:v>
                </c:pt>
                <c:pt idx="661">
                  <c:v>2588</c:v>
                </c:pt>
                <c:pt idx="662">
                  <c:v>2575</c:v>
                </c:pt>
                <c:pt idx="663">
                  <c:v>2583</c:v>
                </c:pt>
                <c:pt idx="664">
                  <c:v>2576</c:v>
                </c:pt>
                <c:pt idx="665">
                  <c:v>2646</c:v>
                </c:pt>
                <c:pt idx="666">
                  <c:v>2412</c:v>
                </c:pt>
                <c:pt idx="667">
                  <c:v>2361</c:v>
                </c:pt>
                <c:pt idx="668">
                  <c:v>2315</c:v>
                </c:pt>
                <c:pt idx="669">
                  <c:v>2390</c:v>
                </c:pt>
                <c:pt idx="670">
                  <c:v>2669</c:v>
                </c:pt>
                <c:pt idx="671">
                  <c:v>2467</c:v>
                </c:pt>
                <c:pt idx="672">
                  <c:v>2437</c:v>
                </c:pt>
                <c:pt idx="673">
                  <c:v>2401</c:v>
                </c:pt>
                <c:pt idx="674">
                  <c:v>2290</c:v>
                </c:pt>
                <c:pt idx="675">
                  <c:v>2338</c:v>
                </c:pt>
                <c:pt idx="676">
                  <c:v>2333</c:v>
                </c:pt>
                <c:pt idx="677">
                  <c:v>2289</c:v>
                </c:pt>
                <c:pt idx="678">
                  <c:v>2402</c:v>
                </c:pt>
                <c:pt idx="679">
                  <c:v>2404</c:v>
                </c:pt>
                <c:pt idx="680">
                  <c:v>2173</c:v>
                </c:pt>
                <c:pt idx="681">
                  <c:v>2321</c:v>
                </c:pt>
                <c:pt idx="682">
                  <c:v>2315</c:v>
                </c:pt>
                <c:pt idx="683">
                  <c:v>2249</c:v>
                </c:pt>
                <c:pt idx="684">
                  <c:v>2282</c:v>
                </c:pt>
                <c:pt idx="685">
                  <c:v>2166</c:v>
                </c:pt>
                <c:pt idx="686">
                  <c:v>2268</c:v>
                </c:pt>
                <c:pt idx="687">
                  <c:v>2219</c:v>
                </c:pt>
                <c:pt idx="688">
                  <c:v>2277</c:v>
                </c:pt>
                <c:pt idx="689">
                  <c:v>2249</c:v>
                </c:pt>
                <c:pt idx="690">
                  <c:v>2129</c:v>
                </c:pt>
                <c:pt idx="691">
                  <c:v>2187</c:v>
                </c:pt>
                <c:pt idx="692">
                  <c:v>2139</c:v>
                </c:pt>
                <c:pt idx="693">
                  <c:v>2295</c:v>
                </c:pt>
                <c:pt idx="694">
                  <c:v>2226</c:v>
                </c:pt>
                <c:pt idx="695">
                  <c:v>2139</c:v>
                </c:pt>
                <c:pt idx="696">
                  <c:v>2151</c:v>
                </c:pt>
                <c:pt idx="697">
                  <c:v>1975</c:v>
                </c:pt>
                <c:pt idx="698">
                  <c:v>2076</c:v>
                </c:pt>
                <c:pt idx="699">
                  <c:v>1930</c:v>
                </c:pt>
                <c:pt idx="700">
                  <c:v>2007</c:v>
                </c:pt>
                <c:pt idx="701">
                  <c:v>2077</c:v>
                </c:pt>
                <c:pt idx="702">
                  <c:v>2120</c:v>
                </c:pt>
                <c:pt idx="703">
                  <c:v>2078</c:v>
                </c:pt>
                <c:pt idx="704">
                  <c:v>1944</c:v>
                </c:pt>
                <c:pt idx="705">
                  <c:v>2065</c:v>
                </c:pt>
                <c:pt idx="706">
                  <c:v>2017</c:v>
                </c:pt>
                <c:pt idx="707">
                  <c:v>2057</c:v>
                </c:pt>
                <c:pt idx="708">
                  <c:v>2028</c:v>
                </c:pt>
                <c:pt idx="709">
                  <c:v>1993</c:v>
                </c:pt>
                <c:pt idx="710">
                  <c:v>2090</c:v>
                </c:pt>
                <c:pt idx="711">
                  <c:v>2117</c:v>
                </c:pt>
                <c:pt idx="712">
                  <c:v>2177</c:v>
                </c:pt>
                <c:pt idx="713">
                  <c:v>2101</c:v>
                </c:pt>
                <c:pt idx="714">
                  <c:v>2096</c:v>
                </c:pt>
                <c:pt idx="715">
                  <c:v>1982</c:v>
                </c:pt>
                <c:pt idx="716">
                  <c:v>2032</c:v>
                </c:pt>
                <c:pt idx="717">
                  <c:v>1864</c:v>
                </c:pt>
                <c:pt idx="718">
                  <c:v>1932</c:v>
                </c:pt>
                <c:pt idx="719">
                  <c:v>1906</c:v>
                </c:pt>
                <c:pt idx="720">
                  <c:v>1945</c:v>
                </c:pt>
                <c:pt idx="721">
                  <c:v>2117</c:v>
                </c:pt>
                <c:pt idx="722">
                  <c:v>2068</c:v>
                </c:pt>
                <c:pt idx="723">
                  <c:v>2020</c:v>
                </c:pt>
                <c:pt idx="724">
                  <c:v>2011</c:v>
                </c:pt>
                <c:pt idx="725">
                  <c:v>2056</c:v>
                </c:pt>
                <c:pt idx="726">
                  <c:v>2087</c:v>
                </c:pt>
                <c:pt idx="727">
                  <c:v>1959</c:v>
                </c:pt>
                <c:pt idx="728">
                  <c:v>1970</c:v>
                </c:pt>
                <c:pt idx="729">
                  <c:v>1928</c:v>
                </c:pt>
                <c:pt idx="730">
                  <c:v>1830</c:v>
                </c:pt>
                <c:pt idx="731">
                  <c:v>2027</c:v>
                </c:pt>
                <c:pt idx="732">
                  <c:v>2008</c:v>
                </c:pt>
                <c:pt idx="733">
                  <c:v>1972</c:v>
                </c:pt>
                <c:pt idx="734">
                  <c:v>2111</c:v>
                </c:pt>
                <c:pt idx="735">
                  <c:v>1963</c:v>
                </c:pt>
                <c:pt idx="736">
                  <c:v>2045</c:v>
                </c:pt>
                <c:pt idx="737">
                  <c:v>1891</c:v>
                </c:pt>
                <c:pt idx="738">
                  <c:v>2071</c:v>
                </c:pt>
                <c:pt idx="739">
                  <c:v>1841</c:v>
                </c:pt>
                <c:pt idx="740">
                  <c:v>1774</c:v>
                </c:pt>
                <c:pt idx="741">
                  <c:v>1759</c:v>
                </c:pt>
                <c:pt idx="742">
                  <c:v>1667</c:v>
                </c:pt>
                <c:pt idx="743">
                  <c:v>1745</c:v>
                </c:pt>
                <c:pt idx="744">
                  <c:v>1751</c:v>
                </c:pt>
                <c:pt idx="745">
                  <c:v>1737</c:v>
                </c:pt>
                <c:pt idx="746">
                  <c:v>1735</c:v>
                </c:pt>
                <c:pt idx="747">
                  <c:v>1791</c:v>
                </c:pt>
                <c:pt idx="748">
                  <c:v>1675</c:v>
                </c:pt>
                <c:pt idx="749">
                  <c:v>1640</c:v>
                </c:pt>
                <c:pt idx="750">
                  <c:v>1625</c:v>
                </c:pt>
                <c:pt idx="751">
                  <c:v>1661</c:v>
                </c:pt>
                <c:pt idx="752">
                  <c:v>1677</c:v>
                </c:pt>
                <c:pt idx="753">
                  <c:v>1717</c:v>
                </c:pt>
                <c:pt idx="754">
                  <c:v>1752</c:v>
                </c:pt>
                <c:pt idx="755">
                  <c:v>1789</c:v>
                </c:pt>
                <c:pt idx="756">
                  <c:v>1741</c:v>
                </c:pt>
                <c:pt idx="757">
                  <c:v>1670</c:v>
                </c:pt>
                <c:pt idx="758">
                  <c:v>1703</c:v>
                </c:pt>
                <c:pt idx="759">
                  <c:v>1715</c:v>
                </c:pt>
                <c:pt idx="760">
                  <c:v>1857</c:v>
                </c:pt>
                <c:pt idx="761">
                  <c:v>1635</c:v>
                </c:pt>
                <c:pt idx="762">
                  <c:v>1566</c:v>
                </c:pt>
                <c:pt idx="763">
                  <c:v>1598</c:v>
                </c:pt>
                <c:pt idx="764">
                  <c:v>1655</c:v>
                </c:pt>
                <c:pt idx="765">
                  <c:v>1666</c:v>
                </c:pt>
                <c:pt idx="766">
                  <c:v>1815</c:v>
                </c:pt>
                <c:pt idx="767">
                  <c:v>1755</c:v>
                </c:pt>
                <c:pt idx="768">
                  <c:v>1703</c:v>
                </c:pt>
                <c:pt idx="769">
                  <c:v>1703</c:v>
                </c:pt>
                <c:pt idx="770">
                  <c:v>1735</c:v>
                </c:pt>
                <c:pt idx="771">
                  <c:v>1711</c:v>
                </c:pt>
                <c:pt idx="772">
                  <c:v>1697</c:v>
                </c:pt>
                <c:pt idx="773">
                  <c:v>1669</c:v>
                </c:pt>
                <c:pt idx="774">
                  <c:v>1655</c:v>
                </c:pt>
                <c:pt idx="775">
                  <c:v>1698</c:v>
                </c:pt>
                <c:pt idx="776">
                  <c:v>1756</c:v>
                </c:pt>
                <c:pt idx="777">
                  <c:v>1723</c:v>
                </c:pt>
                <c:pt idx="778">
                  <c:v>1636</c:v>
                </c:pt>
                <c:pt idx="779">
                  <c:v>1670</c:v>
                </c:pt>
                <c:pt idx="780">
                  <c:v>1772</c:v>
                </c:pt>
                <c:pt idx="781">
                  <c:v>1828</c:v>
                </c:pt>
                <c:pt idx="782">
                  <c:v>1789</c:v>
                </c:pt>
                <c:pt idx="783">
                  <c:v>1719</c:v>
                </c:pt>
                <c:pt idx="784">
                  <c:v>1670</c:v>
                </c:pt>
                <c:pt idx="785">
                  <c:v>1700</c:v>
                </c:pt>
                <c:pt idx="786">
                  <c:v>1775</c:v>
                </c:pt>
                <c:pt idx="787">
                  <c:v>1678</c:v>
                </c:pt>
                <c:pt idx="788">
                  <c:v>1692</c:v>
                </c:pt>
                <c:pt idx="789">
                  <c:v>1672</c:v>
                </c:pt>
                <c:pt idx="790">
                  <c:v>1732</c:v>
                </c:pt>
                <c:pt idx="791">
                  <c:v>1870</c:v>
                </c:pt>
                <c:pt idx="792">
                  <c:v>1797</c:v>
                </c:pt>
                <c:pt idx="793">
                  <c:v>1808</c:v>
                </c:pt>
                <c:pt idx="794">
                  <c:v>1840</c:v>
                </c:pt>
                <c:pt idx="795">
                  <c:v>1673</c:v>
                </c:pt>
                <c:pt idx="796">
                  <c:v>1728</c:v>
                </c:pt>
                <c:pt idx="797">
                  <c:v>1674</c:v>
                </c:pt>
                <c:pt idx="798">
                  <c:v>1787</c:v>
                </c:pt>
                <c:pt idx="799">
                  <c:v>1734</c:v>
                </c:pt>
                <c:pt idx="800">
                  <c:v>1671</c:v>
                </c:pt>
                <c:pt idx="801">
                  <c:v>1917</c:v>
                </c:pt>
                <c:pt idx="802">
                  <c:v>1791</c:v>
                </c:pt>
                <c:pt idx="803">
                  <c:v>1830</c:v>
                </c:pt>
                <c:pt idx="804">
                  <c:v>1948</c:v>
                </c:pt>
                <c:pt idx="805">
                  <c:v>1722</c:v>
                </c:pt>
                <c:pt idx="806">
                  <c:v>1735</c:v>
                </c:pt>
                <c:pt idx="807">
                  <c:v>1834</c:v>
                </c:pt>
                <c:pt idx="808">
                  <c:v>1906</c:v>
                </c:pt>
                <c:pt idx="809">
                  <c:v>1842</c:v>
                </c:pt>
                <c:pt idx="810">
                  <c:v>1751</c:v>
                </c:pt>
                <c:pt idx="811">
                  <c:v>1918</c:v>
                </c:pt>
                <c:pt idx="812">
                  <c:v>1724</c:v>
                </c:pt>
                <c:pt idx="813">
                  <c:v>1794</c:v>
                </c:pt>
                <c:pt idx="814">
                  <c:v>1697</c:v>
                </c:pt>
                <c:pt idx="815">
                  <c:v>1716</c:v>
                </c:pt>
                <c:pt idx="816">
                  <c:v>1778</c:v>
                </c:pt>
                <c:pt idx="817">
                  <c:v>1872</c:v>
                </c:pt>
                <c:pt idx="818">
                  <c:v>1855</c:v>
                </c:pt>
                <c:pt idx="819">
                  <c:v>1765</c:v>
                </c:pt>
                <c:pt idx="820">
                  <c:v>1752</c:v>
                </c:pt>
                <c:pt idx="821">
                  <c:v>1838</c:v>
                </c:pt>
                <c:pt idx="822">
                  <c:v>1941</c:v>
                </c:pt>
                <c:pt idx="823">
                  <c:v>2044</c:v>
                </c:pt>
                <c:pt idx="824">
                  <c:v>1828</c:v>
                </c:pt>
                <c:pt idx="825">
                  <c:v>1957</c:v>
                </c:pt>
                <c:pt idx="826">
                  <c:v>1790</c:v>
                </c:pt>
                <c:pt idx="827">
                  <c:v>1894</c:v>
                </c:pt>
                <c:pt idx="828">
                  <c:v>1866</c:v>
                </c:pt>
                <c:pt idx="829">
                  <c:v>1904</c:v>
                </c:pt>
                <c:pt idx="830">
                  <c:v>2026</c:v>
                </c:pt>
                <c:pt idx="831">
                  <c:v>2069</c:v>
                </c:pt>
                <c:pt idx="832">
                  <c:v>1867</c:v>
                </c:pt>
                <c:pt idx="833">
                  <c:v>2010</c:v>
                </c:pt>
                <c:pt idx="834">
                  <c:v>1923</c:v>
                </c:pt>
                <c:pt idx="835">
                  <c:v>2015</c:v>
                </c:pt>
                <c:pt idx="836">
                  <c:v>1929</c:v>
                </c:pt>
                <c:pt idx="837">
                  <c:v>2048</c:v>
                </c:pt>
                <c:pt idx="838">
                  <c:v>1959</c:v>
                </c:pt>
                <c:pt idx="839">
                  <c:v>2151</c:v>
                </c:pt>
                <c:pt idx="840">
                  <c:v>2210</c:v>
                </c:pt>
                <c:pt idx="841">
                  <c:v>2120</c:v>
                </c:pt>
                <c:pt idx="842">
                  <c:v>1921</c:v>
                </c:pt>
                <c:pt idx="843">
                  <c:v>2100</c:v>
                </c:pt>
                <c:pt idx="844">
                  <c:v>2005</c:v>
                </c:pt>
                <c:pt idx="845">
                  <c:v>2131</c:v>
                </c:pt>
                <c:pt idx="846">
                  <c:v>2167</c:v>
                </c:pt>
                <c:pt idx="847">
                  <c:v>1983</c:v>
                </c:pt>
                <c:pt idx="848">
                  <c:v>2053</c:v>
                </c:pt>
                <c:pt idx="849">
                  <c:v>2135</c:v>
                </c:pt>
                <c:pt idx="850">
                  <c:v>2009</c:v>
                </c:pt>
                <c:pt idx="851">
                  <c:v>1936</c:v>
                </c:pt>
                <c:pt idx="852">
                  <c:v>2065</c:v>
                </c:pt>
                <c:pt idx="853">
                  <c:v>2021</c:v>
                </c:pt>
                <c:pt idx="854">
                  <c:v>2072</c:v>
                </c:pt>
                <c:pt idx="855">
                  <c:v>2169</c:v>
                </c:pt>
                <c:pt idx="856">
                  <c:v>2130</c:v>
                </c:pt>
                <c:pt idx="857">
                  <c:v>1997</c:v>
                </c:pt>
                <c:pt idx="858">
                  <c:v>2056</c:v>
                </c:pt>
                <c:pt idx="859">
                  <c:v>2074</c:v>
                </c:pt>
                <c:pt idx="860">
                  <c:v>2221</c:v>
                </c:pt>
                <c:pt idx="861">
                  <c:v>2244</c:v>
                </c:pt>
                <c:pt idx="862">
                  <c:v>2158</c:v>
                </c:pt>
                <c:pt idx="863">
                  <c:v>2134</c:v>
                </c:pt>
                <c:pt idx="864">
                  <c:v>2273</c:v>
                </c:pt>
                <c:pt idx="865">
                  <c:v>2196</c:v>
                </c:pt>
                <c:pt idx="866">
                  <c:v>2221</c:v>
                </c:pt>
                <c:pt idx="867">
                  <c:v>2252</c:v>
                </c:pt>
                <c:pt idx="868">
                  <c:v>2257</c:v>
                </c:pt>
                <c:pt idx="869">
                  <c:v>2131</c:v>
                </c:pt>
                <c:pt idx="870">
                  <c:v>2249</c:v>
                </c:pt>
                <c:pt idx="871">
                  <c:v>2245</c:v>
                </c:pt>
                <c:pt idx="872">
                  <c:v>2176</c:v>
                </c:pt>
                <c:pt idx="873">
                  <c:v>2191</c:v>
                </c:pt>
                <c:pt idx="874">
                  <c:v>2229</c:v>
                </c:pt>
                <c:pt idx="875">
                  <c:v>2171</c:v>
                </c:pt>
                <c:pt idx="876">
                  <c:v>2298</c:v>
                </c:pt>
                <c:pt idx="877">
                  <c:v>2131</c:v>
                </c:pt>
                <c:pt idx="878">
                  <c:v>2168</c:v>
                </c:pt>
                <c:pt idx="879">
                  <c:v>2199</c:v>
                </c:pt>
                <c:pt idx="880">
                  <c:v>2263</c:v>
                </c:pt>
                <c:pt idx="881">
                  <c:v>2398</c:v>
                </c:pt>
                <c:pt idx="882">
                  <c:v>2310</c:v>
                </c:pt>
                <c:pt idx="883">
                  <c:v>2359</c:v>
                </c:pt>
                <c:pt idx="884">
                  <c:v>2380</c:v>
                </c:pt>
                <c:pt idx="885">
                  <c:v>2570</c:v>
                </c:pt>
                <c:pt idx="886">
                  <c:v>2296</c:v>
                </c:pt>
                <c:pt idx="887">
                  <c:v>2352</c:v>
                </c:pt>
                <c:pt idx="888">
                  <c:v>2317</c:v>
                </c:pt>
                <c:pt idx="889">
                  <c:v>2359</c:v>
                </c:pt>
                <c:pt idx="890">
                  <c:v>2345</c:v>
                </c:pt>
                <c:pt idx="891">
                  <c:v>2491</c:v>
                </c:pt>
                <c:pt idx="892">
                  <c:v>2616</c:v>
                </c:pt>
                <c:pt idx="893">
                  <c:v>2509</c:v>
                </c:pt>
                <c:pt idx="894">
                  <c:v>2386</c:v>
                </c:pt>
                <c:pt idx="895">
                  <c:v>2651</c:v>
                </c:pt>
                <c:pt idx="896">
                  <c:v>2603</c:v>
                </c:pt>
                <c:pt idx="897">
                  <c:v>2519</c:v>
                </c:pt>
                <c:pt idx="898">
                  <c:v>2404</c:v>
                </c:pt>
                <c:pt idx="899">
                  <c:v>2780</c:v>
                </c:pt>
                <c:pt idx="900">
                  <c:v>2808</c:v>
                </c:pt>
                <c:pt idx="901">
                  <c:v>2739</c:v>
                </c:pt>
                <c:pt idx="902">
                  <c:v>2649</c:v>
                </c:pt>
                <c:pt idx="903">
                  <c:v>2749</c:v>
                </c:pt>
                <c:pt idx="904">
                  <c:v>2657</c:v>
                </c:pt>
                <c:pt idx="905">
                  <c:v>2701</c:v>
                </c:pt>
                <c:pt idx="906">
                  <c:v>2755</c:v>
                </c:pt>
                <c:pt idx="907">
                  <c:v>2896</c:v>
                </c:pt>
                <c:pt idx="908">
                  <c:v>2770</c:v>
                </c:pt>
                <c:pt idx="909">
                  <c:v>2769</c:v>
                </c:pt>
                <c:pt idx="910">
                  <c:v>2908</c:v>
                </c:pt>
                <c:pt idx="911">
                  <c:v>2953</c:v>
                </c:pt>
                <c:pt idx="912">
                  <c:v>2976</c:v>
                </c:pt>
                <c:pt idx="913">
                  <c:v>3102</c:v>
                </c:pt>
                <c:pt idx="914">
                  <c:v>2941</c:v>
                </c:pt>
                <c:pt idx="915">
                  <c:v>3017</c:v>
                </c:pt>
                <c:pt idx="916">
                  <c:v>3076</c:v>
                </c:pt>
                <c:pt idx="917">
                  <c:v>3145</c:v>
                </c:pt>
                <c:pt idx="918">
                  <c:v>3127</c:v>
                </c:pt>
                <c:pt idx="919">
                  <c:v>3280</c:v>
                </c:pt>
                <c:pt idx="920">
                  <c:v>3133</c:v>
                </c:pt>
                <c:pt idx="921">
                  <c:v>3199</c:v>
                </c:pt>
                <c:pt idx="922">
                  <c:v>3186</c:v>
                </c:pt>
                <c:pt idx="923">
                  <c:v>3334</c:v>
                </c:pt>
                <c:pt idx="924">
                  <c:v>3441</c:v>
                </c:pt>
                <c:pt idx="925">
                  <c:v>3447</c:v>
                </c:pt>
                <c:pt idx="926">
                  <c:v>3295</c:v>
                </c:pt>
                <c:pt idx="927">
                  <c:v>3189</c:v>
                </c:pt>
                <c:pt idx="928">
                  <c:v>3404</c:v>
                </c:pt>
                <c:pt idx="929">
                  <c:v>3485</c:v>
                </c:pt>
                <c:pt idx="930">
                  <c:v>3400</c:v>
                </c:pt>
                <c:pt idx="931">
                  <c:v>3482</c:v>
                </c:pt>
                <c:pt idx="932">
                  <c:v>3363</c:v>
                </c:pt>
                <c:pt idx="933">
                  <c:v>3400</c:v>
                </c:pt>
                <c:pt idx="934">
                  <c:v>3525</c:v>
                </c:pt>
                <c:pt idx="935">
                  <c:v>3488</c:v>
                </c:pt>
                <c:pt idx="936">
                  <c:v>3832</c:v>
                </c:pt>
                <c:pt idx="937">
                  <c:v>3682</c:v>
                </c:pt>
                <c:pt idx="938">
                  <c:v>3781</c:v>
                </c:pt>
                <c:pt idx="939">
                  <c:v>3760</c:v>
                </c:pt>
                <c:pt idx="940">
                  <c:v>3860</c:v>
                </c:pt>
                <c:pt idx="941">
                  <c:v>3826</c:v>
                </c:pt>
                <c:pt idx="942">
                  <c:v>4047</c:v>
                </c:pt>
                <c:pt idx="943">
                  <c:v>4102</c:v>
                </c:pt>
                <c:pt idx="944">
                  <c:v>4208</c:v>
                </c:pt>
                <c:pt idx="945">
                  <c:v>4014</c:v>
                </c:pt>
                <c:pt idx="946">
                  <c:v>4121</c:v>
                </c:pt>
                <c:pt idx="947">
                  <c:v>4371</c:v>
                </c:pt>
                <c:pt idx="948">
                  <c:v>4509</c:v>
                </c:pt>
                <c:pt idx="949">
                  <c:v>4445</c:v>
                </c:pt>
                <c:pt idx="950">
                  <c:v>4558</c:v>
                </c:pt>
                <c:pt idx="951">
                  <c:v>4552</c:v>
                </c:pt>
                <c:pt idx="952">
                  <c:v>4538</c:v>
                </c:pt>
                <c:pt idx="953">
                  <c:v>4654</c:v>
                </c:pt>
                <c:pt idx="954">
                  <c:v>4705</c:v>
                </c:pt>
                <c:pt idx="955">
                  <c:v>4770</c:v>
                </c:pt>
                <c:pt idx="956">
                  <c:v>4710</c:v>
                </c:pt>
                <c:pt idx="957">
                  <c:v>4941</c:v>
                </c:pt>
                <c:pt idx="958">
                  <c:v>5011</c:v>
                </c:pt>
                <c:pt idx="959">
                  <c:v>4976</c:v>
                </c:pt>
                <c:pt idx="960">
                  <c:v>5121</c:v>
                </c:pt>
                <c:pt idx="961">
                  <c:v>5000</c:v>
                </c:pt>
                <c:pt idx="962">
                  <c:v>4967</c:v>
                </c:pt>
                <c:pt idx="963">
                  <c:v>5074</c:v>
                </c:pt>
                <c:pt idx="964">
                  <c:v>5246</c:v>
                </c:pt>
                <c:pt idx="965">
                  <c:v>5167</c:v>
                </c:pt>
                <c:pt idx="966">
                  <c:v>5342</c:v>
                </c:pt>
                <c:pt idx="967">
                  <c:v>5701</c:v>
                </c:pt>
                <c:pt idx="968">
                  <c:v>5699</c:v>
                </c:pt>
                <c:pt idx="969">
                  <c:v>5773</c:v>
                </c:pt>
                <c:pt idx="970">
                  <c:v>5652</c:v>
                </c:pt>
                <c:pt idx="971">
                  <c:v>5746</c:v>
                </c:pt>
                <c:pt idx="972">
                  <c:v>5764</c:v>
                </c:pt>
                <c:pt idx="973">
                  <c:v>5904</c:v>
                </c:pt>
                <c:pt idx="974">
                  <c:v>5971</c:v>
                </c:pt>
                <c:pt idx="975">
                  <c:v>6183</c:v>
                </c:pt>
                <c:pt idx="976">
                  <c:v>6424</c:v>
                </c:pt>
                <c:pt idx="977">
                  <c:v>6436</c:v>
                </c:pt>
                <c:pt idx="978">
                  <c:v>6346</c:v>
                </c:pt>
                <c:pt idx="979">
                  <c:v>6625</c:v>
                </c:pt>
                <c:pt idx="980">
                  <c:v>6670</c:v>
                </c:pt>
                <c:pt idx="981">
                  <c:v>6707</c:v>
                </c:pt>
                <c:pt idx="982">
                  <c:v>6869</c:v>
                </c:pt>
                <c:pt idx="983">
                  <c:v>7018</c:v>
                </c:pt>
                <c:pt idx="984">
                  <c:v>6968</c:v>
                </c:pt>
                <c:pt idx="985">
                  <c:v>7351</c:v>
                </c:pt>
                <c:pt idx="986">
                  <c:v>7000</c:v>
                </c:pt>
                <c:pt idx="987">
                  <c:v>7068</c:v>
                </c:pt>
                <c:pt idx="988">
                  <c:v>7020</c:v>
                </c:pt>
                <c:pt idx="989">
                  <c:v>7285</c:v>
                </c:pt>
                <c:pt idx="990">
                  <c:v>7201</c:v>
                </c:pt>
                <c:pt idx="991">
                  <c:v>7276</c:v>
                </c:pt>
                <c:pt idx="992">
                  <c:v>7142</c:v>
                </c:pt>
                <c:pt idx="993">
                  <c:v>7480</c:v>
                </c:pt>
                <c:pt idx="994">
                  <c:v>7629</c:v>
                </c:pt>
                <c:pt idx="995">
                  <c:v>7437</c:v>
                </c:pt>
                <c:pt idx="996">
                  <c:v>7707</c:v>
                </c:pt>
                <c:pt idx="997">
                  <c:v>7945</c:v>
                </c:pt>
                <c:pt idx="998">
                  <c:v>8201</c:v>
                </c:pt>
                <c:pt idx="999">
                  <c:v>8197</c:v>
                </c:pt>
                <c:pt idx="1000">
                  <c:v>8062</c:v>
                </c:pt>
                <c:pt idx="1001">
                  <c:v>8354</c:v>
                </c:pt>
                <c:pt idx="1002">
                  <c:v>8533</c:v>
                </c:pt>
                <c:pt idx="1003">
                  <c:v>8649</c:v>
                </c:pt>
                <c:pt idx="1004">
                  <c:v>8895</c:v>
                </c:pt>
                <c:pt idx="1005">
                  <c:v>8776</c:v>
                </c:pt>
                <c:pt idx="1006">
                  <c:v>9017</c:v>
                </c:pt>
                <c:pt idx="1007">
                  <c:v>9163</c:v>
                </c:pt>
                <c:pt idx="1008">
                  <c:v>9052</c:v>
                </c:pt>
                <c:pt idx="1009">
                  <c:v>9623</c:v>
                </c:pt>
                <c:pt idx="1010">
                  <c:v>9248</c:v>
                </c:pt>
                <c:pt idx="1011">
                  <c:v>9540</c:v>
                </c:pt>
                <c:pt idx="1012">
                  <c:v>9702</c:v>
                </c:pt>
                <c:pt idx="1013">
                  <c:v>9580</c:v>
                </c:pt>
                <c:pt idx="1014">
                  <c:v>9745</c:v>
                </c:pt>
                <c:pt idx="1015">
                  <c:v>9959</c:v>
                </c:pt>
                <c:pt idx="1016">
                  <c:v>9901</c:v>
                </c:pt>
                <c:pt idx="1017">
                  <c:v>10213</c:v>
                </c:pt>
                <c:pt idx="1018">
                  <c:v>10356</c:v>
                </c:pt>
                <c:pt idx="1019">
                  <c:v>10823</c:v>
                </c:pt>
                <c:pt idx="1020">
                  <c:v>10136</c:v>
                </c:pt>
                <c:pt idx="1021">
                  <c:v>10131</c:v>
                </c:pt>
                <c:pt idx="1022">
                  <c:v>10285</c:v>
                </c:pt>
                <c:pt idx="1023">
                  <c:v>10441</c:v>
                </c:pt>
                <c:pt idx="1024">
                  <c:v>10714</c:v>
                </c:pt>
                <c:pt idx="1025">
                  <c:v>10862</c:v>
                </c:pt>
                <c:pt idx="1026">
                  <c:v>10813</c:v>
                </c:pt>
                <c:pt idx="1027">
                  <c:v>10999</c:v>
                </c:pt>
                <c:pt idx="1028">
                  <c:v>10832</c:v>
                </c:pt>
                <c:pt idx="1029">
                  <c:v>10799</c:v>
                </c:pt>
                <c:pt idx="1030">
                  <c:v>10687</c:v>
                </c:pt>
                <c:pt idx="1031">
                  <c:v>11015</c:v>
                </c:pt>
                <c:pt idx="1032">
                  <c:v>11185</c:v>
                </c:pt>
                <c:pt idx="1033">
                  <c:v>11231</c:v>
                </c:pt>
                <c:pt idx="1034">
                  <c:v>11087</c:v>
                </c:pt>
                <c:pt idx="1035">
                  <c:v>11169</c:v>
                </c:pt>
                <c:pt idx="1036">
                  <c:v>11309</c:v>
                </c:pt>
                <c:pt idx="1037">
                  <c:v>11565</c:v>
                </c:pt>
                <c:pt idx="1038">
                  <c:v>11529</c:v>
                </c:pt>
                <c:pt idx="1039">
                  <c:v>11487</c:v>
                </c:pt>
                <c:pt idx="1040">
                  <c:v>11391</c:v>
                </c:pt>
                <c:pt idx="1041">
                  <c:v>11814</c:v>
                </c:pt>
                <c:pt idx="1042">
                  <c:v>11633</c:v>
                </c:pt>
                <c:pt idx="1043">
                  <c:v>11768</c:v>
                </c:pt>
                <c:pt idx="1044">
                  <c:v>11926</c:v>
                </c:pt>
                <c:pt idx="1045">
                  <c:v>11643</c:v>
                </c:pt>
                <c:pt idx="1046">
                  <c:v>11757</c:v>
                </c:pt>
                <c:pt idx="1047">
                  <c:v>12115</c:v>
                </c:pt>
                <c:pt idx="1048">
                  <c:v>11833</c:v>
                </c:pt>
                <c:pt idx="1049">
                  <c:v>11946</c:v>
                </c:pt>
                <c:pt idx="1050">
                  <c:v>12220</c:v>
                </c:pt>
                <c:pt idx="1051">
                  <c:v>12089</c:v>
                </c:pt>
                <c:pt idx="1052">
                  <c:v>12020</c:v>
                </c:pt>
                <c:pt idx="1053">
                  <c:v>12014</c:v>
                </c:pt>
                <c:pt idx="1054">
                  <c:v>12376</c:v>
                </c:pt>
                <c:pt idx="1055">
                  <c:v>11909</c:v>
                </c:pt>
                <c:pt idx="1056">
                  <c:v>12448</c:v>
                </c:pt>
                <c:pt idx="1057">
                  <c:v>12291</c:v>
                </c:pt>
                <c:pt idx="1058">
                  <c:v>12389</c:v>
                </c:pt>
                <c:pt idx="1059">
                  <c:v>12628</c:v>
                </c:pt>
                <c:pt idx="1060">
                  <c:v>12104</c:v>
                </c:pt>
                <c:pt idx="1061">
                  <c:v>12285</c:v>
                </c:pt>
                <c:pt idx="1062">
                  <c:v>12287</c:v>
                </c:pt>
                <c:pt idx="1063">
                  <c:v>12370</c:v>
                </c:pt>
                <c:pt idx="1064">
                  <c:v>12582</c:v>
                </c:pt>
                <c:pt idx="1065">
                  <c:v>12667</c:v>
                </c:pt>
                <c:pt idx="1066">
                  <c:v>13015</c:v>
                </c:pt>
                <c:pt idx="1067">
                  <c:v>12557</c:v>
                </c:pt>
                <c:pt idx="1068">
                  <c:v>12647</c:v>
                </c:pt>
                <c:pt idx="1069">
                  <c:v>12315</c:v>
                </c:pt>
                <c:pt idx="1070">
                  <c:v>12554</c:v>
                </c:pt>
                <c:pt idx="1071">
                  <c:v>12879</c:v>
                </c:pt>
                <c:pt idx="1072">
                  <c:v>12901</c:v>
                </c:pt>
                <c:pt idx="1073">
                  <c:v>12813</c:v>
                </c:pt>
                <c:pt idx="1074">
                  <c:v>12678</c:v>
                </c:pt>
                <c:pt idx="1075">
                  <c:v>12998</c:v>
                </c:pt>
                <c:pt idx="1076">
                  <c:v>12782</c:v>
                </c:pt>
                <c:pt idx="1077">
                  <c:v>12916</c:v>
                </c:pt>
                <c:pt idx="1078">
                  <c:v>13393</c:v>
                </c:pt>
                <c:pt idx="1079">
                  <c:v>12962</c:v>
                </c:pt>
                <c:pt idx="1080">
                  <c:v>12986</c:v>
                </c:pt>
                <c:pt idx="1081">
                  <c:v>13110</c:v>
                </c:pt>
                <c:pt idx="1082">
                  <c:v>13360</c:v>
                </c:pt>
                <c:pt idx="1083">
                  <c:v>13524</c:v>
                </c:pt>
                <c:pt idx="1084">
                  <c:v>13260</c:v>
                </c:pt>
                <c:pt idx="1085">
                  <c:v>13429</c:v>
                </c:pt>
                <c:pt idx="1086">
                  <c:v>13565</c:v>
                </c:pt>
                <c:pt idx="1087">
                  <c:v>13315</c:v>
                </c:pt>
                <c:pt idx="1088">
                  <c:v>13499</c:v>
                </c:pt>
                <c:pt idx="1089">
                  <c:v>13362</c:v>
                </c:pt>
                <c:pt idx="1090">
                  <c:v>13194</c:v>
                </c:pt>
                <c:pt idx="1091">
                  <c:v>13418</c:v>
                </c:pt>
                <c:pt idx="1092">
                  <c:v>13209</c:v>
                </c:pt>
                <c:pt idx="1093">
                  <c:v>13555</c:v>
                </c:pt>
                <c:pt idx="1094">
                  <c:v>13328</c:v>
                </c:pt>
                <c:pt idx="1095">
                  <c:v>13478</c:v>
                </c:pt>
                <c:pt idx="1096">
                  <c:v>13468</c:v>
                </c:pt>
                <c:pt idx="1097">
                  <c:v>13523</c:v>
                </c:pt>
                <c:pt idx="1098">
                  <c:v>13644</c:v>
                </c:pt>
                <c:pt idx="1099">
                  <c:v>13500</c:v>
                </c:pt>
                <c:pt idx="1100">
                  <c:v>13369</c:v>
                </c:pt>
                <c:pt idx="1101">
                  <c:v>13535</c:v>
                </c:pt>
                <c:pt idx="1102">
                  <c:v>13633</c:v>
                </c:pt>
                <c:pt idx="1103">
                  <c:v>13489</c:v>
                </c:pt>
                <c:pt idx="1104">
                  <c:v>13663</c:v>
                </c:pt>
                <c:pt idx="1105">
                  <c:v>13535</c:v>
                </c:pt>
                <c:pt idx="1106">
                  <c:v>13721</c:v>
                </c:pt>
                <c:pt idx="1107">
                  <c:v>13502</c:v>
                </c:pt>
                <c:pt idx="1108">
                  <c:v>13434</c:v>
                </c:pt>
                <c:pt idx="1109">
                  <c:v>13557</c:v>
                </c:pt>
                <c:pt idx="1110">
                  <c:v>13751</c:v>
                </c:pt>
                <c:pt idx="1111">
                  <c:v>13735</c:v>
                </c:pt>
                <c:pt idx="1112">
                  <c:v>13297</c:v>
                </c:pt>
                <c:pt idx="1113">
                  <c:v>13856</c:v>
                </c:pt>
                <c:pt idx="1114">
                  <c:v>13951</c:v>
                </c:pt>
                <c:pt idx="1115">
                  <c:v>13673</c:v>
                </c:pt>
                <c:pt idx="1116">
                  <c:v>13407</c:v>
                </c:pt>
                <c:pt idx="1117">
                  <c:v>13567</c:v>
                </c:pt>
                <c:pt idx="1118">
                  <c:v>13528</c:v>
                </c:pt>
                <c:pt idx="1119">
                  <c:v>14303</c:v>
                </c:pt>
                <c:pt idx="1120">
                  <c:v>13892</c:v>
                </c:pt>
                <c:pt idx="1121">
                  <c:v>13837</c:v>
                </c:pt>
                <c:pt idx="1122">
                  <c:v>13984</c:v>
                </c:pt>
                <c:pt idx="1123">
                  <c:v>13786</c:v>
                </c:pt>
                <c:pt idx="1124">
                  <c:v>14647</c:v>
                </c:pt>
                <c:pt idx="1125">
                  <c:v>14618</c:v>
                </c:pt>
                <c:pt idx="1126">
                  <c:v>14000</c:v>
                </c:pt>
                <c:pt idx="1127">
                  <c:v>14266</c:v>
                </c:pt>
                <c:pt idx="1128">
                  <c:v>14343</c:v>
                </c:pt>
                <c:pt idx="1129">
                  <c:v>14224</c:v>
                </c:pt>
                <c:pt idx="1130">
                  <c:v>14133</c:v>
                </c:pt>
                <c:pt idx="1131">
                  <c:v>13716</c:v>
                </c:pt>
                <c:pt idx="1132">
                  <c:v>14065</c:v>
                </c:pt>
                <c:pt idx="1133">
                  <c:v>14278</c:v>
                </c:pt>
                <c:pt idx="1134">
                  <c:v>14487</c:v>
                </c:pt>
                <c:pt idx="1135">
                  <c:v>14033</c:v>
                </c:pt>
                <c:pt idx="1136">
                  <c:v>14148</c:v>
                </c:pt>
                <c:pt idx="1137">
                  <c:v>14139</c:v>
                </c:pt>
                <c:pt idx="1138">
                  <c:v>14134</c:v>
                </c:pt>
                <c:pt idx="1139">
                  <c:v>14465</c:v>
                </c:pt>
                <c:pt idx="1140">
                  <c:v>14238</c:v>
                </c:pt>
                <c:pt idx="1141">
                  <c:v>14160</c:v>
                </c:pt>
                <c:pt idx="1142">
                  <c:v>13998</c:v>
                </c:pt>
                <c:pt idx="1143">
                  <c:v>14232</c:v>
                </c:pt>
                <c:pt idx="1144">
                  <c:v>13784</c:v>
                </c:pt>
                <c:pt idx="1145">
                  <c:v>14165</c:v>
                </c:pt>
                <c:pt idx="1146">
                  <c:v>14318</c:v>
                </c:pt>
                <c:pt idx="1147">
                  <c:v>14085</c:v>
                </c:pt>
                <c:pt idx="1148">
                  <c:v>14277</c:v>
                </c:pt>
                <c:pt idx="1149">
                  <c:v>14335</c:v>
                </c:pt>
                <c:pt idx="1150">
                  <c:v>14378</c:v>
                </c:pt>
                <c:pt idx="1151">
                  <c:v>14724</c:v>
                </c:pt>
                <c:pt idx="1152">
                  <c:v>14393</c:v>
                </c:pt>
                <c:pt idx="1153">
                  <c:v>14313</c:v>
                </c:pt>
                <c:pt idx="1154">
                  <c:v>14155</c:v>
                </c:pt>
                <c:pt idx="1155">
                  <c:v>14412</c:v>
                </c:pt>
                <c:pt idx="1156">
                  <c:v>14564</c:v>
                </c:pt>
                <c:pt idx="1157">
                  <c:v>14712</c:v>
                </c:pt>
                <c:pt idx="1158">
                  <c:v>14798</c:v>
                </c:pt>
                <c:pt idx="1159">
                  <c:v>14845</c:v>
                </c:pt>
                <c:pt idx="1160">
                  <c:v>14564</c:v>
                </c:pt>
                <c:pt idx="1161">
                  <c:v>14252</c:v>
                </c:pt>
                <c:pt idx="1162">
                  <c:v>13976</c:v>
                </c:pt>
                <c:pt idx="1163">
                  <c:v>14240</c:v>
                </c:pt>
                <c:pt idx="1164">
                  <c:v>14270</c:v>
                </c:pt>
                <c:pt idx="1165">
                  <c:v>14057</c:v>
                </c:pt>
                <c:pt idx="1166">
                  <c:v>13924</c:v>
                </c:pt>
                <c:pt idx="1167">
                  <c:v>14595</c:v>
                </c:pt>
                <c:pt idx="1168">
                  <c:v>14285</c:v>
                </c:pt>
                <c:pt idx="1169">
                  <c:v>13865</c:v>
                </c:pt>
                <c:pt idx="1170">
                  <c:v>14536</c:v>
                </c:pt>
                <c:pt idx="1171">
                  <c:v>14776</c:v>
                </c:pt>
                <c:pt idx="1172">
                  <c:v>13928</c:v>
                </c:pt>
                <c:pt idx="1173">
                  <c:v>14298</c:v>
                </c:pt>
                <c:pt idx="1174">
                  <c:v>14180</c:v>
                </c:pt>
                <c:pt idx="1175">
                  <c:v>14584</c:v>
                </c:pt>
                <c:pt idx="1176">
                  <c:v>14559</c:v>
                </c:pt>
                <c:pt idx="1177">
                  <c:v>14362</c:v>
                </c:pt>
                <c:pt idx="1178">
                  <c:v>14457</c:v>
                </c:pt>
                <c:pt idx="1179">
                  <c:v>14827</c:v>
                </c:pt>
                <c:pt idx="1180">
                  <c:v>14597</c:v>
                </c:pt>
                <c:pt idx="1181">
                  <c:v>14447</c:v>
                </c:pt>
                <c:pt idx="1182">
                  <c:v>14933</c:v>
                </c:pt>
                <c:pt idx="1183">
                  <c:v>14695</c:v>
                </c:pt>
                <c:pt idx="1184">
                  <c:v>14460</c:v>
                </c:pt>
                <c:pt idx="1185">
                  <c:v>14585</c:v>
                </c:pt>
                <c:pt idx="1186">
                  <c:v>14585</c:v>
                </c:pt>
                <c:pt idx="1187">
                  <c:v>14946</c:v>
                </c:pt>
                <c:pt idx="1188">
                  <c:v>14345</c:v>
                </c:pt>
                <c:pt idx="1189">
                  <c:v>14301</c:v>
                </c:pt>
                <c:pt idx="1190">
                  <c:v>14521</c:v>
                </c:pt>
                <c:pt idx="1191">
                  <c:v>14694</c:v>
                </c:pt>
                <c:pt idx="1192">
                  <c:v>14324</c:v>
                </c:pt>
                <c:pt idx="1193">
                  <c:v>14282</c:v>
                </c:pt>
                <c:pt idx="1194">
                  <c:v>14422</c:v>
                </c:pt>
                <c:pt idx="1195">
                  <c:v>14519</c:v>
                </c:pt>
                <c:pt idx="1196">
                  <c:v>14800</c:v>
                </c:pt>
                <c:pt idx="1197">
                  <c:v>14709</c:v>
                </c:pt>
                <c:pt idx="1198">
                  <c:v>14486</c:v>
                </c:pt>
                <c:pt idx="1199">
                  <c:v>14523</c:v>
                </c:pt>
                <c:pt idx="1200">
                  <c:v>14109</c:v>
                </c:pt>
                <c:pt idx="1201">
                  <c:v>13887</c:v>
                </c:pt>
                <c:pt idx="1202">
                  <c:v>13030</c:v>
                </c:pt>
                <c:pt idx="1203">
                  <c:v>13213</c:v>
                </c:pt>
                <c:pt idx="1204">
                  <c:v>13690</c:v>
                </c:pt>
                <c:pt idx="1205">
                  <c:v>13492</c:v>
                </c:pt>
                <c:pt idx="1206">
                  <c:v>12948</c:v>
                </c:pt>
                <c:pt idx="1207">
                  <c:v>12970</c:v>
                </c:pt>
                <c:pt idx="1208">
                  <c:v>13182</c:v>
                </c:pt>
                <c:pt idx="1209">
                  <c:v>13223</c:v>
                </c:pt>
                <c:pt idx="1210">
                  <c:v>13186</c:v>
                </c:pt>
                <c:pt idx="1211">
                  <c:v>13377</c:v>
                </c:pt>
                <c:pt idx="1212">
                  <c:v>13441</c:v>
                </c:pt>
                <c:pt idx="1213">
                  <c:v>12974</c:v>
                </c:pt>
                <c:pt idx="1214">
                  <c:v>13228</c:v>
                </c:pt>
                <c:pt idx="1215">
                  <c:v>13893</c:v>
                </c:pt>
                <c:pt idx="1216">
                  <c:v>13775</c:v>
                </c:pt>
                <c:pt idx="1217">
                  <c:v>13301</c:v>
                </c:pt>
                <c:pt idx="1218">
                  <c:v>13916</c:v>
                </c:pt>
                <c:pt idx="1219">
                  <c:v>14090</c:v>
                </c:pt>
                <c:pt idx="1220">
                  <c:v>14002</c:v>
                </c:pt>
                <c:pt idx="1221">
                  <c:v>14472</c:v>
                </c:pt>
                <c:pt idx="1222">
                  <c:v>14396</c:v>
                </c:pt>
                <c:pt idx="1223">
                  <c:v>14443</c:v>
                </c:pt>
                <c:pt idx="1224">
                  <c:v>15145</c:v>
                </c:pt>
                <c:pt idx="1225">
                  <c:v>14852</c:v>
                </c:pt>
                <c:pt idx="1226">
                  <c:v>14842</c:v>
                </c:pt>
                <c:pt idx="1227">
                  <c:v>15245</c:v>
                </c:pt>
                <c:pt idx="1228">
                  <c:v>15043</c:v>
                </c:pt>
                <c:pt idx="1229">
                  <c:v>15156</c:v>
                </c:pt>
                <c:pt idx="1230">
                  <c:v>15360</c:v>
                </c:pt>
                <c:pt idx="1231">
                  <c:v>15271</c:v>
                </c:pt>
                <c:pt idx="1232">
                  <c:v>15139</c:v>
                </c:pt>
                <c:pt idx="1233">
                  <c:v>15263</c:v>
                </c:pt>
                <c:pt idx="1234">
                  <c:v>15479</c:v>
                </c:pt>
                <c:pt idx="1235">
                  <c:v>15333</c:v>
                </c:pt>
                <c:pt idx="1236">
                  <c:v>15728</c:v>
                </c:pt>
                <c:pt idx="1237">
                  <c:v>16157</c:v>
                </c:pt>
                <c:pt idx="1238">
                  <c:v>16239</c:v>
                </c:pt>
                <c:pt idx="1239">
                  <c:v>16248</c:v>
                </c:pt>
                <c:pt idx="1240">
                  <c:v>16064</c:v>
                </c:pt>
                <c:pt idx="1241">
                  <c:v>16020</c:v>
                </c:pt>
                <c:pt idx="1242">
                  <c:v>16478</c:v>
                </c:pt>
                <c:pt idx="1243">
                  <c:v>16026</c:v>
                </c:pt>
                <c:pt idx="1244">
                  <c:v>16223</c:v>
                </c:pt>
                <c:pt idx="1245">
                  <c:v>15914</c:v>
                </c:pt>
                <c:pt idx="1246">
                  <c:v>15970</c:v>
                </c:pt>
                <c:pt idx="1247">
                  <c:v>16079</c:v>
                </c:pt>
                <c:pt idx="1248">
                  <c:v>16392</c:v>
                </c:pt>
                <c:pt idx="1249">
                  <c:v>16408</c:v>
                </c:pt>
                <c:pt idx="1250">
                  <c:v>15918</c:v>
                </c:pt>
                <c:pt idx="1251">
                  <c:v>16625</c:v>
                </c:pt>
                <c:pt idx="1252">
                  <c:v>16306</c:v>
                </c:pt>
                <c:pt idx="1253">
                  <c:v>16419</c:v>
                </c:pt>
                <c:pt idx="1254">
                  <c:v>16363</c:v>
                </c:pt>
                <c:pt idx="1255">
                  <c:v>16778</c:v>
                </c:pt>
                <c:pt idx="1256">
                  <c:v>16792</c:v>
                </c:pt>
                <c:pt idx="1257">
                  <c:v>16784</c:v>
                </c:pt>
                <c:pt idx="1258">
                  <c:v>16761</c:v>
                </c:pt>
                <c:pt idx="1259">
                  <c:v>16364</c:v>
                </c:pt>
                <c:pt idx="1260">
                  <c:v>15080</c:v>
                </c:pt>
                <c:pt idx="1261">
                  <c:v>14508</c:v>
                </c:pt>
                <c:pt idx="1262">
                  <c:v>14589</c:v>
                </c:pt>
                <c:pt idx="1263">
                  <c:v>14344</c:v>
                </c:pt>
                <c:pt idx="1264">
                  <c:v>13988</c:v>
                </c:pt>
                <c:pt idx="1265">
                  <c:v>14627</c:v>
                </c:pt>
                <c:pt idx="1266">
                  <c:v>14890</c:v>
                </c:pt>
                <c:pt idx="1267">
                  <c:v>15765</c:v>
                </c:pt>
                <c:pt idx="1268">
                  <c:v>15021</c:v>
                </c:pt>
                <c:pt idx="1269">
                  <c:v>15136</c:v>
                </c:pt>
                <c:pt idx="1270">
                  <c:v>14506</c:v>
                </c:pt>
                <c:pt idx="1271">
                  <c:v>14252</c:v>
                </c:pt>
                <c:pt idx="1272">
                  <c:v>14288</c:v>
                </c:pt>
                <c:pt idx="1273">
                  <c:v>14424</c:v>
                </c:pt>
                <c:pt idx="1274">
                  <c:v>14119</c:v>
                </c:pt>
                <c:pt idx="1275">
                  <c:v>14149</c:v>
                </c:pt>
                <c:pt idx="1276">
                  <c:v>14158</c:v>
                </c:pt>
                <c:pt idx="1277">
                  <c:v>14223</c:v>
                </c:pt>
                <c:pt idx="1278">
                  <c:v>13983</c:v>
                </c:pt>
                <c:pt idx="1279">
                  <c:v>14075</c:v>
                </c:pt>
                <c:pt idx="1280">
                  <c:v>13882</c:v>
                </c:pt>
                <c:pt idx="1281">
                  <c:v>13961</c:v>
                </c:pt>
                <c:pt idx="1282">
                  <c:v>13841</c:v>
                </c:pt>
                <c:pt idx="1283">
                  <c:v>14185</c:v>
                </c:pt>
                <c:pt idx="1284">
                  <c:v>14322</c:v>
                </c:pt>
                <c:pt idx="1285">
                  <c:v>14043</c:v>
                </c:pt>
                <c:pt idx="1286">
                  <c:v>13900</c:v>
                </c:pt>
                <c:pt idx="1287">
                  <c:v>13925</c:v>
                </c:pt>
                <c:pt idx="1288">
                  <c:v>14169</c:v>
                </c:pt>
                <c:pt idx="1289">
                  <c:v>13891</c:v>
                </c:pt>
                <c:pt idx="1290">
                  <c:v>13858</c:v>
                </c:pt>
                <c:pt idx="1291">
                  <c:v>14006</c:v>
                </c:pt>
                <c:pt idx="1292">
                  <c:v>13601</c:v>
                </c:pt>
                <c:pt idx="1293">
                  <c:v>13850</c:v>
                </c:pt>
                <c:pt idx="1294">
                  <c:v>13574</c:v>
                </c:pt>
                <c:pt idx="1295">
                  <c:v>14074</c:v>
                </c:pt>
                <c:pt idx="1296">
                  <c:v>14196</c:v>
                </c:pt>
                <c:pt idx="1297">
                  <c:v>13713</c:v>
                </c:pt>
                <c:pt idx="1298">
                  <c:v>14186</c:v>
                </c:pt>
                <c:pt idx="1299">
                  <c:v>13880</c:v>
                </c:pt>
                <c:pt idx="1300">
                  <c:v>13622</c:v>
                </c:pt>
                <c:pt idx="1301">
                  <c:v>13763</c:v>
                </c:pt>
                <c:pt idx="1302">
                  <c:v>13645</c:v>
                </c:pt>
                <c:pt idx="1303">
                  <c:v>13668</c:v>
                </c:pt>
                <c:pt idx="1304">
                  <c:v>13887</c:v>
                </c:pt>
                <c:pt idx="1305">
                  <c:v>13677</c:v>
                </c:pt>
                <c:pt idx="1306">
                  <c:v>14219</c:v>
                </c:pt>
                <c:pt idx="1307">
                  <c:v>14156</c:v>
                </c:pt>
                <c:pt idx="1308">
                  <c:v>13830</c:v>
                </c:pt>
                <c:pt idx="1309">
                  <c:v>13782</c:v>
                </c:pt>
                <c:pt idx="1310">
                  <c:v>14102</c:v>
                </c:pt>
                <c:pt idx="1311">
                  <c:v>13898</c:v>
                </c:pt>
                <c:pt idx="1312">
                  <c:v>13996</c:v>
                </c:pt>
                <c:pt idx="1313">
                  <c:v>13912</c:v>
                </c:pt>
                <c:pt idx="1314">
                  <c:v>14179</c:v>
                </c:pt>
                <c:pt idx="1315">
                  <c:v>13846</c:v>
                </c:pt>
                <c:pt idx="1316">
                  <c:v>13655</c:v>
                </c:pt>
                <c:pt idx="1317">
                  <c:v>13939</c:v>
                </c:pt>
                <c:pt idx="1318">
                  <c:v>13796</c:v>
                </c:pt>
                <c:pt idx="1319">
                  <c:v>14037</c:v>
                </c:pt>
                <c:pt idx="1320">
                  <c:v>13973</c:v>
                </c:pt>
                <c:pt idx="1321">
                  <c:v>13840</c:v>
                </c:pt>
                <c:pt idx="1322">
                  <c:v>14221</c:v>
                </c:pt>
                <c:pt idx="1323">
                  <c:v>14127</c:v>
                </c:pt>
                <c:pt idx="1324">
                  <c:v>13761</c:v>
                </c:pt>
                <c:pt idx="1325">
                  <c:v>13747</c:v>
                </c:pt>
                <c:pt idx="1326">
                  <c:v>14197</c:v>
                </c:pt>
                <c:pt idx="1327">
                  <c:v>14058</c:v>
                </c:pt>
                <c:pt idx="1328">
                  <c:v>14154</c:v>
                </c:pt>
                <c:pt idx="1329">
                  <c:v>14044</c:v>
                </c:pt>
                <c:pt idx="1330">
                  <c:v>14181</c:v>
                </c:pt>
                <c:pt idx="1331">
                  <c:v>14332</c:v>
                </c:pt>
                <c:pt idx="1332">
                  <c:v>15024</c:v>
                </c:pt>
                <c:pt idx="1333">
                  <c:v>18679</c:v>
                </c:pt>
                <c:pt idx="1334">
                  <c:v>19174</c:v>
                </c:pt>
                <c:pt idx="1335">
                  <c:v>17205</c:v>
                </c:pt>
                <c:pt idx="1336">
                  <c:v>15772</c:v>
                </c:pt>
                <c:pt idx="1337">
                  <c:v>19343</c:v>
                </c:pt>
                <c:pt idx="1338">
                  <c:v>19748</c:v>
                </c:pt>
                <c:pt idx="1339">
                  <c:v>19197</c:v>
                </c:pt>
                <c:pt idx="1340">
                  <c:v>19390</c:v>
                </c:pt>
                <c:pt idx="1341">
                  <c:v>19473</c:v>
                </c:pt>
                <c:pt idx="1342">
                  <c:v>18116</c:v>
                </c:pt>
                <c:pt idx="1343">
                  <c:v>18307</c:v>
                </c:pt>
                <c:pt idx="1344">
                  <c:v>17896</c:v>
                </c:pt>
                <c:pt idx="1345">
                  <c:v>18162</c:v>
                </c:pt>
                <c:pt idx="1346">
                  <c:v>16719</c:v>
                </c:pt>
                <c:pt idx="1347">
                  <c:v>13449</c:v>
                </c:pt>
                <c:pt idx="1348">
                  <c:v>13042</c:v>
                </c:pt>
                <c:pt idx="1349">
                  <c:v>12899</c:v>
                </c:pt>
                <c:pt idx="1350">
                  <c:v>13180</c:v>
                </c:pt>
                <c:pt idx="1351">
                  <c:v>13499</c:v>
                </c:pt>
                <c:pt idx="1352">
                  <c:v>13923</c:v>
                </c:pt>
                <c:pt idx="1353">
                  <c:v>13520</c:v>
                </c:pt>
                <c:pt idx="1354">
                  <c:v>13269</c:v>
                </c:pt>
                <c:pt idx="1355">
                  <c:v>13978</c:v>
                </c:pt>
                <c:pt idx="1356">
                  <c:v>14230</c:v>
                </c:pt>
                <c:pt idx="1357">
                  <c:v>13914</c:v>
                </c:pt>
                <c:pt idx="1358">
                  <c:v>14115</c:v>
                </c:pt>
                <c:pt idx="1359">
                  <c:v>13906</c:v>
                </c:pt>
                <c:pt idx="1360">
                  <c:v>14092</c:v>
                </c:pt>
                <c:pt idx="1361">
                  <c:v>13647</c:v>
                </c:pt>
                <c:pt idx="1362">
                  <c:v>14022</c:v>
                </c:pt>
                <c:pt idx="1363">
                  <c:v>14156</c:v>
                </c:pt>
                <c:pt idx="1364">
                  <c:v>14298</c:v>
                </c:pt>
                <c:pt idx="1365">
                  <c:v>13834</c:v>
                </c:pt>
                <c:pt idx="1366">
                  <c:v>13636</c:v>
                </c:pt>
                <c:pt idx="1367">
                  <c:v>13861</c:v>
                </c:pt>
                <c:pt idx="1368">
                  <c:v>14087</c:v>
                </c:pt>
                <c:pt idx="1369">
                  <c:v>14069</c:v>
                </c:pt>
                <c:pt idx="1370">
                  <c:v>13749</c:v>
                </c:pt>
                <c:pt idx="1371">
                  <c:v>14039</c:v>
                </c:pt>
                <c:pt idx="1372">
                  <c:v>14210</c:v>
                </c:pt>
                <c:pt idx="1373">
                  <c:v>14401</c:v>
                </c:pt>
                <c:pt idx="1374">
                  <c:v>14219</c:v>
                </c:pt>
                <c:pt idx="1375">
                  <c:v>14800</c:v>
                </c:pt>
                <c:pt idx="1376">
                  <c:v>14506</c:v>
                </c:pt>
                <c:pt idx="1377">
                  <c:v>14684</c:v>
                </c:pt>
                <c:pt idx="1378">
                  <c:v>14369</c:v>
                </c:pt>
                <c:pt idx="1379">
                  <c:v>14511</c:v>
                </c:pt>
                <c:pt idx="1380">
                  <c:v>14045</c:v>
                </c:pt>
                <c:pt idx="1381">
                  <c:v>14028</c:v>
                </c:pt>
                <c:pt idx="1382">
                  <c:v>13922</c:v>
                </c:pt>
                <c:pt idx="1383">
                  <c:v>14208</c:v>
                </c:pt>
                <c:pt idx="1384">
                  <c:v>14419</c:v>
                </c:pt>
                <c:pt idx="1385">
                  <c:v>14460</c:v>
                </c:pt>
                <c:pt idx="1386">
                  <c:v>14365</c:v>
                </c:pt>
                <c:pt idx="1387">
                  <c:v>14643</c:v>
                </c:pt>
                <c:pt idx="1388">
                  <c:v>14244</c:v>
                </c:pt>
                <c:pt idx="1389">
                  <c:v>14225</c:v>
                </c:pt>
                <c:pt idx="1390">
                  <c:v>14179</c:v>
                </c:pt>
                <c:pt idx="1391">
                  <c:v>14584</c:v>
                </c:pt>
                <c:pt idx="1392">
                  <c:v>14446</c:v>
                </c:pt>
                <c:pt idx="1393">
                  <c:v>14473</c:v>
                </c:pt>
                <c:pt idx="1394">
                  <c:v>14507</c:v>
                </c:pt>
                <c:pt idx="1395">
                  <c:v>14606</c:v>
                </c:pt>
                <c:pt idx="1396">
                  <c:v>14361</c:v>
                </c:pt>
                <c:pt idx="1397">
                  <c:v>14548</c:v>
                </c:pt>
                <c:pt idx="1398">
                  <c:v>14474</c:v>
                </c:pt>
                <c:pt idx="1399">
                  <c:v>14073</c:v>
                </c:pt>
                <c:pt idx="1400">
                  <c:v>14269</c:v>
                </c:pt>
                <c:pt idx="1401">
                  <c:v>14443</c:v>
                </c:pt>
                <c:pt idx="1402">
                  <c:v>14597</c:v>
                </c:pt>
                <c:pt idx="1403">
                  <c:v>14913</c:v>
                </c:pt>
                <c:pt idx="1404">
                  <c:v>14431</c:v>
                </c:pt>
                <c:pt idx="1405">
                  <c:v>14397</c:v>
                </c:pt>
                <c:pt idx="1406">
                  <c:v>14536</c:v>
                </c:pt>
                <c:pt idx="1407">
                  <c:v>13974</c:v>
                </c:pt>
                <c:pt idx="1408">
                  <c:v>14406</c:v>
                </c:pt>
                <c:pt idx="1409">
                  <c:v>14286</c:v>
                </c:pt>
                <c:pt idx="1410">
                  <c:v>14296</c:v>
                </c:pt>
                <c:pt idx="1411">
                  <c:v>14292</c:v>
                </c:pt>
                <c:pt idx="1412">
                  <c:v>14590</c:v>
                </c:pt>
                <c:pt idx="1413">
                  <c:v>14432</c:v>
                </c:pt>
                <c:pt idx="1414">
                  <c:v>14060</c:v>
                </c:pt>
                <c:pt idx="1415">
                  <c:v>14427</c:v>
                </c:pt>
                <c:pt idx="1416">
                  <c:v>14323</c:v>
                </c:pt>
                <c:pt idx="1417">
                  <c:v>14612</c:v>
                </c:pt>
                <c:pt idx="1418">
                  <c:v>14086</c:v>
                </c:pt>
                <c:pt idx="1419">
                  <c:v>14571</c:v>
                </c:pt>
                <c:pt idx="1420">
                  <c:v>14071</c:v>
                </c:pt>
                <c:pt idx="1421">
                  <c:v>14255</c:v>
                </c:pt>
                <c:pt idx="1422">
                  <c:v>14656</c:v>
                </c:pt>
                <c:pt idx="1423">
                  <c:v>14108</c:v>
                </c:pt>
                <c:pt idx="1424">
                  <c:v>14613</c:v>
                </c:pt>
                <c:pt idx="1425">
                  <c:v>14176</c:v>
                </c:pt>
                <c:pt idx="1426">
                  <c:v>14163</c:v>
                </c:pt>
                <c:pt idx="1427">
                  <c:v>14519</c:v>
                </c:pt>
                <c:pt idx="1428">
                  <c:v>14565</c:v>
                </c:pt>
                <c:pt idx="1429">
                  <c:v>14518</c:v>
                </c:pt>
                <c:pt idx="1430">
                  <c:v>14401</c:v>
                </c:pt>
                <c:pt idx="1431">
                  <c:v>14179</c:v>
                </c:pt>
                <c:pt idx="1432">
                  <c:v>14561</c:v>
                </c:pt>
                <c:pt idx="1433">
                  <c:v>14743</c:v>
                </c:pt>
                <c:pt idx="1434">
                  <c:v>14171</c:v>
                </c:pt>
                <c:pt idx="1435">
                  <c:v>14345</c:v>
                </c:pt>
                <c:pt idx="1436">
                  <c:v>14501</c:v>
                </c:pt>
                <c:pt idx="1437">
                  <c:v>14915</c:v>
                </c:pt>
                <c:pt idx="1438">
                  <c:v>14432</c:v>
                </c:pt>
                <c:pt idx="1439">
                  <c:v>14181</c:v>
                </c:pt>
              </c:numCache>
            </c:numRef>
          </c:val>
          <c:smooth val="0"/>
        </c:ser>
        <c:ser>
          <c:idx val="3"/>
          <c:order val="1"/>
          <c:tx>
            <c:strRef>
              <c:f>Sheet1!$E$1</c:f>
              <c:strCache>
                <c:ptCount val="1"/>
                <c:pt idx="0">
                  <c:v>Great Britain</c:v>
                </c:pt>
              </c:strCache>
            </c:strRef>
          </c:tx>
          <c:spPr>
            <a:ln>
              <a:solidFill>
                <a:srgbClr val="00B0F0"/>
              </a:solidFill>
            </a:ln>
          </c:spPr>
          <c:marker>
            <c:symbol val="none"/>
          </c:marker>
          <c:cat>
            <c:numRef>
              <c:f>Sheet1!$A$2:$A$1441</c:f>
              <c:numCache>
                <c:formatCode>h:mm\ AM/PM</c:formatCode>
                <c:ptCount val="1440"/>
                <c:pt idx="0">
                  <c:v>0</c:v>
                </c:pt>
                <c:pt idx="1">
                  <c:v>6.9444444444444545E-4</c:v>
                </c:pt>
                <c:pt idx="2">
                  <c:v>1.3888888888888924E-3</c:v>
                </c:pt>
                <c:pt idx="3">
                  <c:v>2.0833333333333372E-3</c:v>
                </c:pt>
                <c:pt idx="4">
                  <c:v>2.7777777777777874E-3</c:v>
                </c:pt>
                <c:pt idx="5">
                  <c:v>3.4722222222222242E-3</c:v>
                </c:pt>
                <c:pt idx="6">
                  <c:v>4.1666666666666683E-3</c:v>
                </c:pt>
                <c:pt idx="7">
                  <c:v>4.8611111111111112E-3</c:v>
                </c:pt>
                <c:pt idx="8">
                  <c:v>5.5555555555555558E-3</c:v>
                </c:pt>
                <c:pt idx="9">
                  <c:v>6.2500000000000073E-3</c:v>
                </c:pt>
                <c:pt idx="10">
                  <c:v>6.9444444444444527E-3</c:v>
                </c:pt>
                <c:pt idx="11">
                  <c:v>7.6388888888888904E-3</c:v>
                </c:pt>
                <c:pt idx="12">
                  <c:v>8.3333333333333367E-3</c:v>
                </c:pt>
                <c:pt idx="13">
                  <c:v>9.0277777777777787E-3</c:v>
                </c:pt>
                <c:pt idx="14">
                  <c:v>9.7222222222222224E-3</c:v>
                </c:pt>
                <c:pt idx="15">
                  <c:v>1.0416666666666666E-2</c:v>
                </c:pt>
                <c:pt idx="16">
                  <c:v>1.1111111111111125E-2</c:v>
                </c:pt>
                <c:pt idx="17">
                  <c:v>1.1805555555555583E-2</c:v>
                </c:pt>
                <c:pt idx="18">
                  <c:v>1.2499999999999982E-2</c:v>
                </c:pt>
                <c:pt idx="19">
                  <c:v>1.3194444444444439E-2</c:v>
                </c:pt>
                <c:pt idx="20">
                  <c:v>1.3888888888888914E-2</c:v>
                </c:pt>
                <c:pt idx="21">
                  <c:v>1.4583333333333341E-2</c:v>
                </c:pt>
                <c:pt idx="22">
                  <c:v>1.5277777777777781E-2</c:v>
                </c:pt>
                <c:pt idx="23">
                  <c:v>1.5972222222222224E-2</c:v>
                </c:pt>
                <c:pt idx="24">
                  <c:v>1.6666666666666691E-2</c:v>
                </c:pt>
                <c:pt idx="25">
                  <c:v>1.7361111111111136E-2</c:v>
                </c:pt>
                <c:pt idx="26">
                  <c:v>1.8055555555555561E-2</c:v>
                </c:pt>
                <c:pt idx="27">
                  <c:v>1.8749999999999999E-2</c:v>
                </c:pt>
                <c:pt idx="28">
                  <c:v>1.9444444444444445E-2</c:v>
                </c:pt>
                <c:pt idx="29">
                  <c:v>2.0138888888888887E-2</c:v>
                </c:pt>
                <c:pt idx="30">
                  <c:v>2.0833333333333377E-2</c:v>
                </c:pt>
                <c:pt idx="31">
                  <c:v>2.1527777777777823E-2</c:v>
                </c:pt>
                <c:pt idx="32">
                  <c:v>2.2222222222222251E-2</c:v>
                </c:pt>
                <c:pt idx="33">
                  <c:v>2.2916666666666672E-2</c:v>
                </c:pt>
                <c:pt idx="34">
                  <c:v>2.3611111111111145E-2</c:v>
                </c:pt>
                <c:pt idx="35">
                  <c:v>2.4305555555555556E-2</c:v>
                </c:pt>
                <c:pt idx="36">
                  <c:v>2.4999999999999998E-2</c:v>
                </c:pt>
                <c:pt idx="37">
                  <c:v>2.569444444444445E-2</c:v>
                </c:pt>
                <c:pt idx="38">
                  <c:v>2.6388888888888878E-2</c:v>
                </c:pt>
                <c:pt idx="39">
                  <c:v>2.7083333333333379E-2</c:v>
                </c:pt>
                <c:pt idx="40">
                  <c:v>2.7777777777777853E-2</c:v>
                </c:pt>
                <c:pt idx="41">
                  <c:v>2.8472222222222242E-2</c:v>
                </c:pt>
                <c:pt idx="42">
                  <c:v>2.9166666666666664E-2</c:v>
                </c:pt>
                <c:pt idx="43">
                  <c:v>2.9861111111111165E-2</c:v>
                </c:pt>
                <c:pt idx="44">
                  <c:v>3.0555555555555582E-2</c:v>
                </c:pt>
                <c:pt idx="45">
                  <c:v>3.125E-2</c:v>
                </c:pt>
                <c:pt idx="46">
                  <c:v>3.1944444444444449E-2</c:v>
                </c:pt>
                <c:pt idx="47">
                  <c:v>3.2638888888888891E-2</c:v>
                </c:pt>
                <c:pt idx="48">
                  <c:v>3.333333333333334E-2</c:v>
                </c:pt>
                <c:pt idx="49">
                  <c:v>3.4027777777777823E-2</c:v>
                </c:pt>
                <c:pt idx="50">
                  <c:v>3.4722222222222224E-2</c:v>
                </c:pt>
                <c:pt idx="51">
                  <c:v>3.5416666666666666E-2</c:v>
                </c:pt>
                <c:pt idx="52">
                  <c:v>3.6111111111111163E-2</c:v>
                </c:pt>
                <c:pt idx="53">
                  <c:v>3.6805555555555612E-2</c:v>
                </c:pt>
                <c:pt idx="54">
                  <c:v>3.7500000000000006E-2</c:v>
                </c:pt>
                <c:pt idx="55">
                  <c:v>3.8194444444444441E-2</c:v>
                </c:pt>
                <c:pt idx="56">
                  <c:v>3.888888888888889E-2</c:v>
                </c:pt>
                <c:pt idx="57">
                  <c:v>3.9583333333333331E-2</c:v>
                </c:pt>
                <c:pt idx="58">
                  <c:v>4.0277777777777767E-2</c:v>
                </c:pt>
                <c:pt idx="59">
                  <c:v>4.0972222222222292E-2</c:v>
                </c:pt>
                <c:pt idx="60">
                  <c:v>4.1666666666666664E-2</c:v>
                </c:pt>
                <c:pt idx="61">
                  <c:v>4.2361111111111203E-2</c:v>
                </c:pt>
                <c:pt idx="62">
                  <c:v>4.3055555555555472E-2</c:v>
                </c:pt>
                <c:pt idx="63">
                  <c:v>4.3750000000000004E-2</c:v>
                </c:pt>
                <c:pt idx="64">
                  <c:v>4.4444444444444502E-2</c:v>
                </c:pt>
                <c:pt idx="65">
                  <c:v>4.5138888888888888E-2</c:v>
                </c:pt>
                <c:pt idx="66">
                  <c:v>4.5833333333333462E-2</c:v>
                </c:pt>
                <c:pt idx="67">
                  <c:v>4.6527777777777765E-2</c:v>
                </c:pt>
                <c:pt idx="68">
                  <c:v>4.722222222222229E-2</c:v>
                </c:pt>
                <c:pt idx="69">
                  <c:v>4.7916666666666746E-2</c:v>
                </c:pt>
                <c:pt idx="70">
                  <c:v>4.8611111111111112E-2</c:v>
                </c:pt>
                <c:pt idx="71">
                  <c:v>4.9305555555555547E-2</c:v>
                </c:pt>
                <c:pt idx="72">
                  <c:v>0.05</c:v>
                </c:pt>
                <c:pt idx="73">
                  <c:v>5.0694444444444493E-2</c:v>
                </c:pt>
                <c:pt idx="74">
                  <c:v>5.1388888888888887E-2</c:v>
                </c:pt>
                <c:pt idx="75">
                  <c:v>5.2083333333333461E-2</c:v>
                </c:pt>
                <c:pt idx="76">
                  <c:v>5.2777777777777792E-2</c:v>
                </c:pt>
                <c:pt idx="77">
                  <c:v>5.3472222222222303E-2</c:v>
                </c:pt>
                <c:pt idx="78">
                  <c:v>5.4166666666666745E-2</c:v>
                </c:pt>
                <c:pt idx="79">
                  <c:v>5.4861111111111201E-2</c:v>
                </c:pt>
                <c:pt idx="80">
                  <c:v>5.5555555555555469E-2</c:v>
                </c:pt>
                <c:pt idx="81">
                  <c:v>5.6249999999999946E-2</c:v>
                </c:pt>
                <c:pt idx="82">
                  <c:v>5.6944444444444443E-2</c:v>
                </c:pt>
                <c:pt idx="83">
                  <c:v>5.7638888888888892E-2</c:v>
                </c:pt>
                <c:pt idx="84">
                  <c:v>5.8333333333333445E-2</c:v>
                </c:pt>
                <c:pt idx="85">
                  <c:v>5.9027777777777783E-2</c:v>
                </c:pt>
                <c:pt idx="86">
                  <c:v>5.9722222222222378E-2</c:v>
                </c:pt>
                <c:pt idx="87">
                  <c:v>6.041666666666675E-2</c:v>
                </c:pt>
                <c:pt idx="88">
                  <c:v>6.1111111111111123E-2</c:v>
                </c:pt>
                <c:pt idx="89">
                  <c:v>6.1805555555555489E-2</c:v>
                </c:pt>
                <c:pt idx="90">
                  <c:v>6.25E-2</c:v>
                </c:pt>
                <c:pt idx="91">
                  <c:v>6.3194444444444484E-2</c:v>
                </c:pt>
                <c:pt idx="92">
                  <c:v>6.3888888888888884E-2</c:v>
                </c:pt>
                <c:pt idx="93">
                  <c:v>6.4583333333333492E-2</c:v>
                </c:pt>
                <c:pt idx="94">
                  <c:v>6.5277777777777782E-2</c:v>
                </c:pt>
                <c:pt idx="95">
                  <c:v>6.5972222222222224E-2</c:v>
                </c:pt>
                <c:pt idx="96">
                  <c:v>6.666666666666668E-2</c:v>
                </c:pt>
                <c:pt idx="97">
                  <c:v>6.7361111111111205E-2</c:v>
                </c:pt>
                <c:pt idx="98">
                  <c:v>6.805555555555555E-2</c:v>
                </c:pt>
                <c:pt idx="99">
                  <c:v>6.8749999999999992E-2</c:v>
                </c:pt>
                <c:pt idx="100">
                  <c:v>6.9444444444444434E-2</c:v>
                </c:pt>
                <c:pt idx="101">
                  <c:v>7.013888888888889E-2</c:v>
                </c:pt>
                <c:pt idx="102">
                  <c:v>7.0833333333333484E-2</c:v>
                </c:pt>
                <c:pt idx="103">
                  <c:v>7.1527777777777787E-2</c:v>
                </c:pt>
                <c:pt idx="104">
                  <c:v>7.2222222222222326E-2</c:v>
                </c:pt>
                <c:pt idx="105">
                  <c:v>7.2916666666666782E-2</c:v>
                </c:pt>
                <c:pt idx="106">
                  <c:v>7.3611111111111113E-2</c:v>
                </c:pt>
                <c:pt idx="107">
                  <c:v>7.4305555555555555E-2</c:v>
                </c:pt>
                <c:pt idx="108">
                  <c:v>7.5000000000000011E-2</c:v>
                </c:pt>
                <c:pt idx="109">
                  <c:v>7.5694444444444439E-2</c:v>
                </c:pt>
                <c:pt idx="110">
                  <c:v>7.6388888888888895E-2</c:v>
                </c:pt>
                <c:pt idx="111">
                  <c:v>7.7083333333333504E-2</c:v>
                </c:pt>
                <c:pt idx="112">
                  <c:v>7.7777777777777779E-2</c:v>
                </c:pt>
                <c:pt idx="113">
                  <c:v>7.8472222222222318E-2</c:v>
                </c:pt>
                <c:pt idx="114">
                  <c:v>7.9166666666666774E-2</c:v>
                </c:pt>
                <c:pt idx="115">
                  <c:v>7.9861111111111216E-2</c:v>
                </c:pt>
                <c:pt idx="116">
                  <c:v>8.0555555555555741E-2</c:v>
                </c:pt>
                <c:pt idx="117">
                  <c:v>8.1250000000000003E-2</c:v>
                </c:pt>
                <c:pt idx="118">
                  <c:v>8.1944444444444528E-2</c:v>
                </c:pt>
                <c:pt idx="119">
                  <c:v>8.2638888888889012E-2</c:v>
                </c:pt>
                <c:pt idx="120">
                  <c:v>8.3333333333333343E-2</c:v>
                </c:pt>
                <c:pt idx="121">
                  <c:v>8.4027777777777771E-2</c:v>
                </c:pt>
                <c:pt idx="122">
                  <c:v>8.4722222222222421E-2</c:v>
                </c:pt>
                <c:pt idx="123">
                  <c:v>8.5416666666666724E-2</c:v>
                </c:pt>
                <c:pt idx="124">
                  <c:v>8.6111111111110958E-2</c:v>
                </c:pt>
                <c:pt idx="125">
                  <c:v>8.6805555555555566E-2</c:v>
                </c:pt>
                <c:pt idx="126">
                  <c:v>8.7500000000000008E-2</c:v>
                </c:pt>
                <c:pt idx="127">
                  <c:v>8.8194444444444672E-2</c:v>
                </c:pt>
                <c:pt idx="128">
                  <c:v>8.8888888888889031E-2</c:v>
                </c:pt>
                <c:pt idx="129">
                  <c:v>8.9583333333333348E-2</c:v>
                </c:pt>
                <c:pt idx="130">
                  <c:v>9.0277777777777693E-2</c:v>
                </c:pt>
                <c:pt idx="131">
                  <c:v>9.0972222222222218E-2</c:v>
                </c:pt>
                <c:pt idx="132">
                  <c:v>9.1666666666666854E-2</c:v>
                </c:pt>
                <c:pt idx="133">
                  <c:v>9.2361111111110963E-2</c:v>
                </c:pt>
                <c:pt idx="134">
                  <c:v>9.3055555555555766E-2</c:v>
                </c:pt>
                <c:pt idx="135">
                  <c:v>9.3750000000000194E-2</c:v>
                </c:pt>
                <c:pt idx="136">
                  <c:v>9.4444444444444525E-2</c:v>
                </c:pt>
                <c:pt idx="137">
                  <c:v>9.5138888888888898E-2</c:v>
                </c:pt>
                <c:pt idx="138">
                  <c:v>9.5833333333333326E-2</c:v>
                </c:pt>
                <c:pt idx="139">
                  <c:v>9.6527777777777754E-2</c:v>
                </c:pt>
                <c:pt idx="140">
                  <c:v>9.7222222222222224E-2</c:v>
                </c:pt>
                <c:pt idx="141">
                  <c:v>9.7916666666666666E-2</c:v>
                </c:pt>
                <c:pt idx="142">
                  <c:v>9.861111111111108E-2</c:v>
                </c:pt>
                <c:pt idx="143">
                  <c:v>9.9305555555555564E-2</c:v>
                </c:pt>
                <c:pt idx="144">
                  <c:v>0.10000000000000003</c:v>
                </c:pt>
                <c:pt idx="145">
                  <c:v>0.10069444444444456</c:v>
                </c:pt>
                <c:pt idx="146">
                  <c:v>0.10138888888888888</c:v>
                </c:pt>
                <c:pt idx="147">
                  <c:v>0.10208333333333336</c:v>
                </c:pt>
                <c:pt idx="148">
                  <c:v>0.10277777777777779</c:v>
                </c:pt>
                <c:pt idx="149">
                  <c:v>0.10347222222222235</c:v>
                </c:pt>
                <c:pt idx="150">
                  <c:v>0.10416666666666677</c:v>
                </c:pt>
                <c:pt idx="151">
                  <c:v>0.10486111111111121</c:v>
                </c:pt>
                <c:pt idx="152">
                  <c:v>0.10555555555555562</c:v>
                </c:pt>
                <c:pt idx="153">
                  <c:v>0.10625000000000002</c:v>
                </c:pt>
                <c:pt idx="154">
                  <c:v>0.10694444444444449</c:v>
                </c:pt>
                <c:pt idx="155">
                  <c:v>0.10763888888888892</c:v>
                </c:pt>
                <c:pt idx="156">
                  <c:v>0.10833333333333336</c:v>
                </c:pt>
                <c:pt idx="157">
                  <c:v>0.10902777777777779</c:v>
                </c:pt>
                <c:pt idx="158">
                  <c:v>0.10972222222222248</c:v>
                </c:pt>
                <c:pt idx="159">
                  <c:v>0.11041666666666665</c:v>
                </c:pt>
                <c:pt idx="160">
                  <c:v>0.1111111111111111</c:v>
                </c:pt>
                <c:pt idx="161">
                  <c:v>0.11180555555555556</c:v>
                </c:pt>
                <c:pt idx="162">
                  <c:v>0.1125</c:v>
                </c:pt>
                <c:pt idx="163">
                  <c:v>0.11319444444444454</c:v>
                </c:pt>
                <c:pt idx="164">
                  <c:v>0.11388888888888885</c:v>
                </c:pt>
                <c:pt idx="165">
                  <c:v>0.11458333333333333</c:v>
                </c:pt>
                <c:pt idx="166">
                  <c:v>0.11527777777777777</c:v>
                </c:pt>
                <c:pt idx="167">
                  <c:v>0.11597222222222232</c:v>
                </c:pt>
                <c:pt idx="168">
                  <c:v>0.11666666666666672</c:v>
                </c:pt>
                <c:pt idx="169">
                  <c:v>0.11736111111111112</c:v>
                </c:pt>
                <c:pt idx="170">
                  <c:v>0.11805555555555559</c:v>
                </c:pt>
                <c:pt idx="171">
                  <c:v>0.11875000000000002</c:v>
                </c:pt>
                <c:pt idx="172">
                  <c:v>0.11944444444444446</c:v>
                </c:pt>
                <c:pt idx="173">
                  <c:v>0.12013888888888889</c:v>
                </c:pt>
                <c:pt idx="174">
                  <c:v>0.12083333333333333</c:v>
                </c:pt>
                <c:pt idx="175">
                  <c:v>0.12152777777777779</c:v>
                </c:pt>
                <c:pt idx="176">
                  <c:v>0.12222222222222248</c:v>
                </c:pt>
                <c:pt idx="177">
                  <c:v>0.12291666666666667</c:v>
                </c:pt>
                <c:pt idx="178">
                  <c:v>0.12361111111111121</c:v>
                </c:pt>
                <c:pt idx="179">
                  <c:v>0.12430555555555566</c:v>
                </c:pt>
                <c:pt idx="180">
                  <c:v>0.125</c:v>
                </c:pt>
                <c:pt idx="181">
                  <c:v>0.12569444444444444</c:v>
                </c:pt>
                <c:pt idx="182">
                  <c:v>0.12638888888888888</c:v>
                </c:pt>
                <c:pt idx="183">
                  <c:v>0.12708333333333341</c:v>
                </c:pt>
                <c:pt idx="184">
                  <c:v>0.1277777777777778</c:v>
                </c:pt>
                <c:pt idx="185">
                  <c:v>0.12847222222222224</c:v>
                </c:pt>
                <c:pt idx="186">
                  <c:v>0.12916666666666668</c:v>
                </c:pt>
                <c:pt idx="187">
                  <c:v>0.1298611111111112</c:v>
                </c:pt>
                <c:pt idx="188">
                  <c:v>0.13055555555555537</c:v>
                </c:pt>
                <c:pt idx="189">
                  <c:v>0.13125000000000001</c:v>
                </c:pt>
                <c:pt idx="190">
                  <c:v>0.13194444444444486</c:v>
                </c:pt>
                <c:pt idx="191">
                  <c:v>0.13263888888888889</c:v>
                </c:pt>
                <c:pt idx="192">
                  <c:v>0.13333333333333341</c:v>
                </c:pt>
                <c:pt idx="193">
                  <c:v>0.13402777777777777</c:v>
                </c:pt>
                <c:pt idx="194">
                  <c:v>0.13472222222222224</c:v>
                </c:pt>
                <c:pt idx="195">
                  <c:v>0.13541666666666671</c:v>
                </c:pt>
                <c:pt idx="196">
                  <c:v>0.13611111111111121</c:v>
                </c:pt>
                <c:pt idx="197">
                  <c:v>0.13680555555555537</c:v>
                </c:pt>
                <c:pt idx="198">
                  <c:v>0.13750000000000001</c:v>
                </c:pt>
                <c:pt idx="199">
                  <c:v>0.13819444444444462</c:v>
                </c:pt>
                <c:pt idx="200">
                  <c:v>0.1388888888888889</c:v>
                </c:pt>
                <c:pt idx="201">
                  <c:v>0.13958333333333353</c:v>
                </c:pt>
                <c:pt idx="202">
                  <c:v>0.14027777777777778</c:v>
                </c:pt>
                <c:pt idx="203">
                  <c:v>0.14097222222222242</c:v>
                </c:pt>
                <c:pt idx="204">
                  <c:v>0.14166666666666666</c:v>
                </c:pt>
                <c:pt idx="205">
                  <c:v>0.14236111111111124</c:v>
                </c:pt>
                <c:pt idx="206">
                  <c:v>0.14305555555555557</c:v>
                </c:pt>
                <c:pt idx="207">
                  <c:v>0.14375000000000004</c:v>
                </c:pt>
                <c:pt idx="208">
                  <c:v>0.14444444444444493</c:v>
                </c:pt>
                <c:pt idx="209">
                  <c:v>0.1451388888888889</c:v>
                </c:pt>
                <c:pt idx="210">
                  <c:v>0.14583333333333356</c:v>
                </c:pt>
                <c:pt idx="211">
                  <c:v>0.14652777777777778</c:v>
                </c:pt>
                <c:pt idx="212">
                  <c:v>0.14722222222222245</c:v>
                </c:pt>
                <c:pt idx="213">
                  <c:v>0.14791666666666689</c:v>
                </c:pt>
                <c:pt idx="214">
                  <c:v>0.14861111111111133</c:v>
                </c:pt>
                <c:pt idx="215">
                  <c:v>0.14930555555555555</c:v>
                </c:pt>
                <c:pt idx="216">
                  <c:v>0.15000000000000019</c:v>
                </c:pt>
                <c:pt idx="217">
                  <c:v>0.15069444444444474</c:v>
                </c:pt>
                <c:pt idx="218">
                  <c:v>0.15138888888888891</c:v>
                </c:pt>
                <c:pt idx="219">
                  <c:v>0.15208333333333357</c:v>
                </c:pt>
                <c:pt idx="220">
                  <c:v>0.15277777777777776</c:v>
                </c:pt>
                <c:pt idx="221">
                  <c:v>0.15347222222222248</c:v>
                </c:pt>
                <c:pt idx="222">
                  <c:v>0.1541666666666667</c:v>
                </c:pt>
                <c:pt idx="223">
                  <c:v>0.15486111111111137</c:v>
                </c:pt>
                <c:pt idx="224">
                  <c:v>0.15555555555555556</c:v>
                </c:pt>
                <c:pt idx="225">
                  <c:v>0.15625000000000022</c:v>
                </c:pt>
                <c:pt idx="226">
                  <c:v>0.15694444444444497</c:v>
                </c:pt>
                <c:pt idx="227">
                  <c:v>0.15763888888888891</c:v>
                </c:pt>
                <c:pt idx="228">
                  <c:v>0.15833333333333363</c:v>
                </c:pt>
                <c:pt idx="229">
                  <c:v>0.15902777777777791</c:v>
                </c:pt>
                <c:pt idx="230">
                  <c:v>0.15972222222222252</c:v>
                </c:pt>
                <c:pt idx="231">
                  <c:v>0.16041666666666671</c:v>
                </c:pt>
                <c:pt idx="232">
                  <c:v>0.1611111111111112</c:v>
                </c:pt>
                <c:pt idx="233">
                  <c:v>0.16180555555555537</c:v>
                </c:pt>
                <c:pt idx="234">
                  <c:v>0.16250000000000001</c:v>
                </c:pt>
                <c:pt idx="235">
                  <c:v>0.16319444444444464</c:v>
                </c:pt>
                <c:pt idx="236">
                  <c:v>0.16388888888888889</c:v>
                </c:pt>
                <c:pt idx="237">
                  <c:v>0.16458333333333341</c:v>
                </c:pt>
                <c:pt idx="238">
                  <c:v>0.16527777777777777</c:v>
                </c:pt>
                <c:pt idx="239">
                  <c:v>0.16597222222222224</c:v>
                </c:pt>
                <c:pt idx="240">
                  <c:v>0.16666666666666666</c:v>
                </c:pt>
                <c:pt idx="241">
                  <c:v>0.16736111111111121</c:v>
                </c:pt>
                <c:pt idx="242">
                  <c:v>0.16805555555555537</c:v>
                </c:pt>
                <c:pt idx="243">
                  <c:v>0.16875000000000001</c:v>
                </c:pt>
                <c:pt idx="244">
                  <c:v>0.16944444444444484</c:v>
                </c:pt>
                <c:pt idx="245">
                  <c:v>0.1701388888888889</c:v>
                </c:pt>
                <c:pt idx="246">
                  <c:v>0.1708333333333335</c:v>
                </c:pt>
                <c:pt idx="247">
                  <c:v>0.17152777777777775</c:v>
                </c:pt>
                <c:pt idx="248">
                  <c:v>0.17222222222222244</c:v>
                </c:pt>
                <c:pt idx="249">
                  <c:v>0.17291666666666689</c:v>
                </c:pt>
                <c:pt idx="250">
                  <c:v>0.17361111111111124</c:v>
                </c:pt>
                <c:pt idx="251">
                  <c:v>0.17430555555555557</c:v>
                </c:pt>
                <c:pt idx="252">
                  <c:v>0.17500000000000004</c:v>
                </c:pt>
                <c:pt idx="253">
                  <c:v>0.17569444444444474</c:v>
                </c:pt>
                <c:pt idx="254">
                  <c:v>0.1763888888888889</c:v>
                </c:pt>
                <c:pt idx="255">
                  <c:v>0.17708333333333356</c:v>
                </c:pt>
                <c:pt idx="256">
                  <c:v>0.17777777777777778</c:v>
                </c:pt>
                <c:pt idx="257">
                  <c:v>0.17847222222222245</c:v>
                </c:pt>
                <c:pt idx="258">
                  <c:v>0.1791666666666667</c:v>
                </c:pt>
                <c:pt idx="259">
                  <c:v>0.17986111111111133</c:v>
                </c:pt>
                <c:pt idx="260">
                  <c:v>0.18055555555555555</c:v>
                </c:pt>
                <c:pt idx="261">
                  <c:v>0.18125000000000019</c:v>
                </c:pt>
                <c:pt idx="262">
                  <c:v>0.18194444444444494</c:v>
                </c:pt>
                <c:pt idx="263">
                  <c:v>0.18263888888888891</c:v>
                </c:pt>
                <c:pt idx="264">
                  <c:v>0.18333333333333357</c:v>
                </c:pt>
                <c:pt idx="265">
                  <c:v>0.18402777777777779</c:v>
                </c:pt>
                <c:pt idx="266">
                  <c:v>0.18472222222222248</c:v>
                </c:pt>
                <c:pt idx="267">
                  <c:v>0.18541666666666692</c:v>
                </c:pt>
                <c:pt idx="268">
                  <c:v>0.18611111111111137</c:v>
                </c:pt>
                <c:pt idx="269">
                  <c:v>0.18680555555555556</c:v>
                </c:pt>
                <c:pt idx="270">
                  <c:v>0.18750000000000022</c:v>
                </c:pt>
                <c:pt idx="271">
                  <c:v>0.1881944444444448</c:v>
                </c:pt>
                <c:pt idx="272">
                  <c:v>0.18888888888888891</c:v>
                </c:pt>
                <c:pt idx="273">
                  <c:v>0.18958333333333363</c:v>
                </c:pt>
                <c:pt idx="274">
                  <c:v>0.19027777777777777</c:v>
                </c:pt>
                <c:pt idx="275">
                  <c:v>0.19097222222222221</c:v>
                </c:pt>
                <c:pt idx="276">
                  <c:v>0.19166666666666665</c:v>
                </c:pt>
                <c:pt idx="277">
                  <c:v>0.1923611111111112</c:v>
                </c:pt>
                <c:pt idx="278">
                  <c:v>0.19305555555555537</c:v>
                </c:pt>
                <c:pt idx="279">
                  <c:v>0.19375000000000001</c:v>
                </c:pt>
                <c:pt idx="280">
                  <c:v>0.19444444444444486</c:v>
                </c:pt>
                <c:pt idx="281">
                  <c:v>0.19513888888888889</c:v>
                </c:pt>
                <c:pt idx="282">
                  <c:v>0.19583333333333341</c:v>
                </c:pt>
                <c:pt idx="283">
                  <c:v>0.19652777777777777</c:v>
                </c:pt>
                <c:pt idx="284">
                  <c:v>0.19722222222222224</c:v>
                </c:pt>
                <c:pt idx="285">
                  <c:v>0.19791666666666671</c:v>
                </c:pt>
                <c:pt idx="286">
                  <c:v>0.19861111111111121</c:v>
                </c:pt>
                <c:pt idx="287">
                  <c:v>0.19930555555555537</c:v>
                </c:pt>
                <c:pt idx="288">
                  <c:v>0.2</c:v>
                </c:pt>
                <c:pt idx="289">
                  <c:v>0.20069444444444462</c:v>
                </c:pt>
                <c:pt idx="290">
                  <c:v>0.2013888888888889</c:v>
                </c:pt>
                <c:pt idx="291">
                  <c:v>0.2020833333333335</c:v>
                </c:pt>
                <c:pt idx="292">
                  <c:v>0.20277777777777781</c:v>
                </c:pt>
                <c:pt idx="293">
                  <c:v>0.20347222222222239</c:v>
                </c:pt>
                <c:pt idx="294">
                  <c:v>0.20416666666666669</c:v>
                </c:pt>
                <c:pt idx="295">
                  <c:v>0.20486111111111124</c:v>
                </c:pt>
                <c:pt idx="296">
                  <c:v>0.20555555555555557</c:v>
                </c:pt>
                <c:pt idx="297">
                  <c:v>0.20625000000000004</c:v>
                </c:pt>
                <c:pt idx="298">
                  <c:v>0.20694444444444493</c:v>
                </c:pt>
                <c:pt idx="299">
                  <c:v>0.2076388888888889</c:v>
                </c:pt>
                <c:pt idx="300">
                  <c:v>0.20833333333333356</c:v>
                </c:pt>
                <c:pt idx="301">
                  <c:v>0.20902777777777778</c:v>
                </c:pt>
                <c:pt idx="302">
                  <c:v>0.20972222222222245</c:v>
                </c:pt>
                <c:pt idx="303">
                  <c:v>0.21041666666666689</c:v>
                </c:pt>
                <c:pt idx="304">
                  <c:v>0.21111111111111133</c:v>
                </c:pt>
                <c:pt idx="305">
                  <c:v>0.21180555555555555</c:v>
                </c:pt>
                <c:pt idx="306">
                  <c:v>0.21250000000000019</c:v>
                </c:pt>
                <c:pt idx="307">
                  <c:v>0.21319444444444474</c:v>
                </c:pt>
                <c:pt idx="308">
                  <c:v>0.21388888888888891</c:v>
                </c:pt>
                <c:pt idx="309">
                  <c:v>0.21458333333333357</c:v>
                </c:pt>
                <c:pt idx="310">
                  <c:v>0.21527777777777779</c:v>
                </c:pt>
                <c:pt idx="311">
                  <c:v>0.21597222222222248</c:v>
                </c:pt>
                <c:pt idx="312">
                  <c:v>0.2166666666666667</c:v>
                </c:pt>
                <c:pt idx="313">
                  <c:v>0.21736111111111137</c:v>
                </c:pt>
                <c:pt idx="314">
                  <c:v>0.21805555555555556</c:v>
                </c:pt>
                <c:pt idx="315">
                  <c:v>0.21875000000000022</c:v>
                </c:pt>
                <c:pt idx="316">
                  <c:v>0.21944444444444497</c:v>
                </c:pt>
                <c:pt idx="317">
                  <c:v>0.22013888888888888</c:v>
                </c:pt>
                <c:pt idx="318">
                  <c:v>0.22083333333333341</c:v>
                </c:pt>
                <c:pt idx="319">
                  <c:v>0.22152777777777777</c:v>
                </c:pt>
                <c:pt idx="320">
                  <c:v>0.22222222222222221</c:v>
                </c:pt>
                <c:pt idx="321">
                  <c:v>0.22291666666666671</c:v>
                </c:pt>
                <c:pt idx="322">
                  <c:v>0.22361111111111109</c:v>
                </c:pt>
                <c:pt idx="323">
                  <c:v>0.22430555555555537</c:v>
                </c:pt>
                <c:pt idx="324">
                  <c:v>0.22500000000000001</c:v>
                </c:pt>
                <c:pt idx="325">
                  <c:v>0.22569444444444464</c:v>
                </c:pt>
                <c:pt idx="326">
                  <c:v>0.22638888888888889</c:v>
                </c:pt>
                <c:pt idx="327">
                  <c:v>0.22708333333333341</c:v>
                </c:pt>
                <c:pt idx="328">
                  <c:v>0.22777777777777777</c:v>
                </c:pt>
                <c:pt idx="329">
                  <c:v>0.22847222222222224</c:v>
                </c:pt>
                <c:pt idx="330">
                  <c:v>0.22916666666666666</c:v>
                </c:pt>
                <c:pt idx="331">
                  <c:v>0.22986111111111121</c:v>
                </c:pt>
                <c:pt idx="332">
                  <c:v>0.23055555555555537</c:v>
                </c:pt>
                <c:pt idx="333">
                  <c:v>0.23125000000000001</c:v>
                </c:pt>
                <c:pt idx="334">
                  <c:v>0.23194444444444484</c:v>
                </c:pt>
                <c:pt idx="335">
                  <c:v>0.2326388888888889</c:v>
                </c:pt>
                <c:pt idx="336">
                  <c:v>0.2333333333333335</c:v>
                </c:pt>
                <c:pt idx="337">
                  <c:v>0.23402777777777781</c:v>
                </c:pt>
                <c:pt idx="338">
                  <c:v>0.23472222222222239</c:v>
                </c:pt>
                <c:pt idx="339">
                  <c:v>0.23541666666666689</c:v>
                </c:pt>
                <c:pt idx="340">
                  <c:v>0.23611111111111124</c:v>
                </c:pt>
                <c:pt idx="341">
                  <c:v>0.23680555555555557</c:v>
                </c:pt>
                <c:pt idx="342">
                  <c:v>0.23750000000000004</c:v>
                </c:pt>
                <c:pt idx="343">
                  <c:v>0.23819444444444474</c:v>
                </c:pt>
                <c:pt idx="344">
                  <c:v>0.2388888888888889</c:v>
                </c:pt>
                <c:pt idx="345">
                  <c:v>0.23958333333333356</c:v>
                </c:pt>
                <c:pt idx="346">
                  <c:v>0.24027777777777778</c:v>
                </c:pt>
                <c:pt idx="347">
                  <c:v>0.24097222222222245</c:v>
                </c:pt>
                <c:pt idx="348">
                  <c:v>0.2416666666666667</c:v>
                </c:pt>
                <c:pt idx="349">
                  <c:v>0.24236111111111133</c:v>
                </c:pt>
                <c:pt idx="350">
                  <c:v>0.24305555555555555</c:v>
                </c:pt>
                <c:pt idx="351">
                  <c:v>0.24375000000000019</c:v>
                </c:pt>
                <c:pt idx="352">
                  <c:v>0.24444444444444499</c:v>
                </c:pt>
                <c:pt idx="353">
                  <c:v>0.24513888888888891</c:v>
                </c:pt>
                <c:pt idx="354">
                  <c:v>0.24583333333333357</c:v>
                </c:pt>
                <c:pt idx="355">
                  <c:v>0.24652777777777779</c:v>
                </c:pt>
                <c:pt idx="356">
                  <c:v>0.24722222222222248</c:v>
                </c:pt>
                <c:pt idx="357">
                  <c:v>0.24791666666666692</c:v>
                </c:pt>
                <c:pt idx="358">
                  <c:v>0.24861111111111137</c:v>
                </c:pt>
                <c:pt idx="359">
                  <c:v>0.24930555555555556</c:v>
                </c:pt>
                <c:pt idx="360">
                  <c:v>0.25</c:v>
                </c:pt>
                <c:pt idx="361">
                  <c:v>0.25069444444444444</c:v>
                </c:pt>
                <c:pt idx="362">
                  <c:v>0.25138888888888955</c:v>
                </c:pt>
                <c:pt idx="363">
                  <c:v>0.25208333333333333</c:v>
                </c:pt>
                <c:pt idx="364">
                  <c:v>0.25277777777777782</c:v>
                </c:pt>
                <c:pt idx="365">
                  <c:v>0.25347222222222232</c:v>
                </c:pt>
                <c:pt idx="366">
                  <c:v>0.25416666666666682</c:v>
                </c:pt>
                <c:pt idx="367">
                  <c:v>0.25486111111111109</c:v>
                </c:pt>
                <c:pt idx="368">
                  <c:v>0.25555555555555559</c:v>
                </c:pt>
                <c:pt idx="369">
                  <c:v>0.25625000000000003</c:v>
                </c:pt>
                <c:pt idx="370">
                  <c:v>0.25694444444444448</c:v>
                </c:pt>
                <c:pt idx="371">
                  <c:v>0.25763888888888892</c:v>
                </c:pt>
                <c:pt idx="372">
                  <c:v>0.25833333333333325</c:v>
                </c:pt>
                <c:pt idx="373">
                  <c:v>0.25902777777777825</c:v>
                </c:pt>
                <c:pt idx="374">
                  <c:v>0.2597222222222223</c:v>
                </c:pt>
                <c:pt idx="375">
                  <c:v>0.26041666666666713</c:v>
                </c:pt>
                <c:pt idx="376">
                  <c:v>0.26111111111111113</c:v>
                </c:pt>
                <c:pt idx="377">
                  <c:v>0.26180555555555557</c:v>
                </c:pt>
                <c:pt idx="378">
                  <c:v>0.26250000000000001</c:v>
                </c:pt>
                <c:pt idx="379">
                  <c:v>0.26319444444444445</c:v>
                </c:pt>
                <c:pt idx="380">
                  <c:v>0.26388888888888973</c:v>
                </c:pt>
                <c:pt idx="381">
                  <c:v>0.26458333333333334</c:v>
                </c:pt>
                <c:pt idx="382">
                  <c:v>0.26527777777777817</c:v>
                </c:pt>
                <c:pt idx="383">
                  <c:v>0.26597222222222261</c:v>
                </c:pt>
                <c:pt idx="384">
                  <c:v>0.26666666666666705</c:v>
                </c:pt>
                <c:pt idx="385">
                  <c:v>0.2673611111111111</c:v>
                </c:pt>
                <c:pt idx="386">
                  <c:v>0.26805555555555555</c:v>
                </c:pt>
                <c:pt idx="387">
                  <c:v>0.26875000000000004</c:v>
                </c:pt>
                <c:pt idx="388">
                  <c:v>0.26944444444444482</c:v>
                </c:pt>
                <c:pt idx="389">
                  <c:v>0.27013888888888887</c:v>
                </c:pt>
                <c:pt idx="390">
                  <c:v>0.27083333333333326</c:v>
                </c:pt>
                <c:pt idx="391">
                  <c:v>0.27152777777777837</c:v>
                </c:pt>
                <c:pt idx="392">
                  <c:v>0.27222222222222231</c:v>
                </c:pt>
                <c:pt idx="393">
                  <c:v>0.27291666666666725</c:v>
                </c:pt>
                <c:pt idx="394">
                  <c:v>0.27361111111111103</c:v>
                </c:pt>
                <c:pt idx="395">
                  <c:v>0.27430555555555552</c:v>
                </c:pt>
                <c:pt idx="396">
                  <c:v>0.27500000000000002</c:v>
                </c:pt>
                <c:pt idx="397">
                  <c:v>0.27569444444444446</c:v>
                </c:pt>
                <c:pt idx="398">
                  <c:v>0.27638888888888968</c:v>
                </c:pt>
                <c:pt idx="399">
                  <c:v>0.27708333333333335</c:v>
                </c:pt>
                <c:pt idx="400">
                  <c:v>0.27777777777777823</c:v>
                </c:pt>
                <c:pt idx="401">
                  <c:v>0.27847222222222268</c:v>
                </c:pt>
                <c:pt idx="402">
                  <c:v>0.27916666666666712</c:v>
                </c:pt>
                <c:pt idx="403">
                  <c:v>0.27986111111111112</c:v>
                </c:pt>
                <c:pt idx="404">
                  <c:v>0.28055555555555556</c:v>
                </c:pt>
                <c:pt idx="405">
                  <c:v>0.28125</c:v>
                </c:pt>
                <c:pt idx="406">
                  <c:v>0.28194444444444483</c:v>
                </c:pt>
                <c:pt idx="407">
                  <c:v>0.28263888888888888</c:v>
                </c:pt>
                <c:pt idx="408">
                  <c:v>0.28333333333333333</c:v>
                </c:pt>
                <c:pt idx="409">
                  <c:v>0.28402777777777843</c:v>
                </c:pt>
                <c:pt idx="410">
                  <c:v>0.28472222222222232</c:v>
                </c:pt>
                <c:pt idx="411">
                  <c:v>0.28541666666666737</c:v>
                </c:pt>
                <c:pt idx="412">
                  <c:v>0.28611111111111115</c:v>
                </c:pt>
                <c:pt idx="413">
                  <c:v>0.28680555555555581</c:v>
                </c:pt>
                <c:pt idx="414">
                  <c:v>0.28750000000000031</c:v>
                </c:pt>
                <c:pt idx="415">
                  <c:v>0.28819444444444448</c:v>
                </c:pt>
                <c:pt idx="416">
                  <c:v>0.28888888888888986</c:v>
                </c:pt>
                <c:pt idx="417">
                  <c:v>0.28958333333333336</c:v>
                </c:pt>
                <c:pt idx="418">
                  <c:v>0.29027777777777825</c:v>
                </c:pt>
                <c:pt idx="419">
                  <c:v>0.29097222222222274</c:v>
                </c:pt>
                <c:pt idx="420">
                  <c:v>0.29166666666666713</c:v>
                </c:pt>
                <c:pt idx="421">
                  <c:v>0.29236111111111118</c:v>
                </c:pt>
                <c:pt idx="422">
                  <c:v>0.29305555555555557</c:v>
                </c:pt>
                <c:pt idx="423">
                  <c:v>0.29375000000000001</c:v>
                </c:pt>
                <c:pt idx="424">
                  <c:v>0.2944444444444449</c:v>
                </c:pt>
                <c:pt idx="425">
                  <c:v>0.29513888888888934</c:v>
                </c:pt>
                <c:pt idx="426">
                  <c:v>0.29583333333333334</c:v>
                </c:pt>
                <c:pt idx="427">
                  <c:v>0.29652777777777856</c:v>
                </c:pt>
                <c:pt idx="428">
                  <c:v>0.29722222222222261</c:v>
                </c:pt>
                <c:pt idx="429">
                  <c:v>0.29791666666666744</c:v>
                </c:pt>
                <c:pt idx="430">
                  <c:v>0.2986111111111111</c:v>
                </c:pt>
                <c:pt idx="431">
                  <c:v>0.29930555555555582</c:v>
                </c:pt>
                <c:pt idx="432">
                  <c:v>0.30000000000000032</c:v>
                </c:pt>
                <c:pt idx="433">
                  <c:v>0.30069444444444482</c:v>
                </c:pt>
                <c:pt idx="434">
                  <c:v>0.30138888888888993</c:v>
                </c:pt>
                <c:pt idx="435">
                  <c:v>0.30208333333333331</c:v>
                </c:pt>
                <c:pt idx="436">
                  <c:v>0.30277777777777837</c:v>
                </c:pt>
                <c:pt idx="437">
                  <c:v>0.30347222222222275</c:v>
                </c:pt>
                <c:pt idx="438">
                  <c:v>0.30416666666666725</c:v>
                </c:pt>
                <c:pt idx="439">
                  <c:v>0.30486111111111108</c:v>
                </c:pt>
                <c:pt idx="440">
                  <c:v>0.30555555555555552</c:v>
                </c:pt>
                <c:pt idx="441">
                  <c:v>0.30625000000000002</c:v>
                </c:pt>
                <c:pt idx="442">
                  <c:v>0.30694444444444491</c:v>
                </c:pt>
                <c:pt idx="443">
                  <c:v>0.30763888888888941</c:v>
                </c:pt>
                <c:pt idx="444">
                  <c:v>0.30833333333333335</c:v>
                </c:pt>
                <c:pt idx="445">
                  <c:v>0.30902777777777868</c:v>
                </c:pt>
                <c:pt idx="446">
                  <c:v>0.30972222222222268</c:v>
                </c:pt>
                <c:pt idx="447">
                  <c:v>0.31041666666666751</c:v>
                </c:pt>
                <c:pt idx="448">
                  <c:v>0.31111111111111112</c:v>
                </c:pt>
                <c:pt idx="449">
                  <c:v>0.31180555555555595</c:v>
                </c:pt>
                <c:pt idx="450">
                  <c:v>0.31250000000000039</c:v>
                </c:pt>
                <c:pt idx="451">
                  <c:v>0.31319444444444483</c:v>
                </c:pt>
                <c:pt idx="452">
                  <c:v>0.31388888888888999</c:v>
                </c:pt>
                <c:pt idx="453">
                  <c:v>0.31458333333333338</c:v>
                </c:pt>
                <c:pt idx="454">
                  <c:v>0.31527777777777843</c:v>
                </c:pt>
                <c:pt idx="455">
                  <c:v>0.31597222222222288</c:v>
                </c:pt>
                <c:pt idx="456">
                  <c:v>0.31666666666666737</c:v>
                </c:pt>
                <c:pt idx="457">
                  <c:v>0.31736111111111132</c:v>
                </c:pt>
                <c:pt idx="458">
                  <c:v>0.31805555555555581</c:v>
                </c:pt>
                <c:pt idx="459">
                  <c:v>0.31875000000000031</c:v>
                </c:pt>
                <c:pt idx="460">
                  <c:v>0.31944444444444503</c:v>
                </c:pt>
                <c:pt idx="461">
                  <c:v>0.32013888888888947</c:v>
                </c:pt>
                <c:pt idx="462">
                  <c:v>0.32083333333333336</c:v>
                </c:pt>
                <c:pt idx="463">
                  <c:v>0.32152777777777863</c:v>
                </c:pt>
                <c:pt idx="464">
                  <c:v>0.32222222222222274</c:v>
                </c:pt>
                <c:pt idx="465">
                  <c:v>0.32291666666666752</c:v>
                </c:pt>
                <c:pt idx="466">
                  <c:v>0.32361111111111118</c:v>
                </c:pt>
                <c:pt idx="467">
                  <c:v>0.32430555555555601</c:v>
                </c:pt>
                <c:pt idx="468">
                  <c:v>0.32500000000000046</c:v>
                </c:pt>
                <c:pt idx="469">
                  <c:v>0.3256944444444449</c:v>
                </c:pt>
                <c:pt idx="470">
                  <c:v>0.32638888888889012</c:v>
                </c:pt>
                <c:pt idx="471">
                  <c:v>0.32708333333333373</c:v>
                </c:pt>
                <c:pt idx="472">
                  <c:v>0.32777777777777856</c:v>
                </c:pt>
                <c:pt idx="473">
                  <c:v>0.328472222222223</c:v>
                </c:pt>
                <c:pt idx="474">
                  <c:v>0.32916666666666744</c:v>
                </c:pt>
                <c:pt idx="475">
                  <c:v>0.32986111111111138</c:v>
                </c:pt>
                <c:pt idx="476">
                  <c:v>0.33055555555555582</c:v>
                </c:pt>
                <c:pt idx="477">
                  <c:v>0.33125000000000032</c:v>
                </c:pt>
                <c:pt idx="478">
                  <c:v>0.33194444444444515</c:v>
                </c:pt>
                <c:pt idx="479">
                  <c:v>0.33263888888888954</c:v>
                </c:pt>
                <c:pt idx="480">
                  <c:v>0.33333333333333331</c:v>
                </c:pt>
                <c:pt idx="481">
                  <c:v>0.33402777777777876</c:v>
                </c:pt>
                <c:pt idx="482">
                  <c:v>0.33472222222222275</c:v>
                </c:pt>
                <c:pt idx="483">
                  <c:v>0.33541666666666758</c:v>
                </c:pt>
                <c:pt idx="484">
                  <c:v>0.33611111111111108</c:v>
                </c:pt>
                <c:pt idx="485">
                  <c:v>0.33680555555555608</c:v>
                </c:pt>
                <c:pt idx="486">
                  <c:v>0.33750000000000052</c:v>
                </c:pt>
                <c:pt idx="487">
                  <c:v>0.33819444444444496</c:v>
                </c:pt>
                <c:pt idx="488">
                  <c:v>0.33888888888889002</c:v>
                </c:pt>
                <c:pt idx="489">
                  <c:v>0.33958333333333385</c:v>
                </c:pt>
                <c:pt idx="490">
                  <c:v>0.34027777777777818</c:v>
                </c:pt>
                <c:pt idx="491">
                  <c:v>0.34097222222222268</c:v>
                </c:pt>
                <c:pt idx="492">
                  <c:v>0.34166666666666706</c:v>
                </c:pt>
                <c:pt idx="493">
                  <c:v>0.34236111111111112</c:v>
                </c:pt>
                <c:pt idx="494">
                  <c:v>0.3430555555555555</c:v>
                </c:pt>
                <c:pt idx="495">
                  <c:v>0.34375</c:v>
                </c:pt>
                <c:pt idx="496">
                  <c:v>0.34444444444444489</c:v>
                </c:pt>
                <c:pt idx="497">
                  <c:v>0.34513888888888888</c:v>
                </c:pt>
                <c:pt idx="498">
                  <c:v>0.34583333333333333</c:v>
                </c:pt>
                <c:pt idx="499">
                  <c:v>0.34652777777777843</c:v>
                </c:pt>
                <c:pt idx="500">
                  <c:v>0.34722222222222232</c:v>
                </c:pt>
                <c:pt idx="501">
                  <c:v>0.34791666666666737</c:v>
                </c:pt>
                <c:pt idx="502">
                  <c:v>0.34861111111111115</c:v>
                </c:pt>
                <c:pt idx="503">
                  <c:v>0.34930555555555581</c:v>
                </c:pt>
                <c:pt idx="504">
                  <c:v>0.35000000000000031</c:v>
                </c:pt>
                <c:pt idx="505">
                  <c:v>0.35069444444444442</c:v>
                </c:pt>
                <c:pt idx="506">
                  <c:v>0.35138888888888986</c:v>
                </c:pt>
                <c:pt idx="507">
                  <c:v>0.3520833333333333</c:v>
                </c:pt>
                <c:pt idx="508">
                  <c:v>0.35277777777777825</c:v>
                </c:pt>
                <c:pt idx="509">
                  <c:v>0.35347222222222263</c:v>
                </c:pt>
                <c:pt idx="510">
                  <c:v>0.35416666666666713</c:v>
                </c:pt>
                <c:pt idx="511">
                  <c:v>0.35486111111111118</c:v>
                </c:pt>
                <c:pt idx="512">
                  <c:v>0.35555555555555557</c:v>
                </c:pt>
                <c:pt idx="513">
                  <c:v>0.35625000000000001</c:v>
                </c:pt>
                <c:pt idx="514">
                  <c:v>0.3569444444444449</c:v>
                </c:pt>
                <c:pt idx="515">
                  <c:v>0.35763888888888934</c:v>
                </c:pt>
                <c:pt idx="516">
                  <c:v>0.35833333333333334</c:v>
                </c:pt>
                <c:pt idx="517">
                  <c:v>0.35902777777777856</c:v>
                </c:pt>
                <c:pt idx="518">
                  <c:v>0.35972222222222261</c:v>
                </c:pt>
                <c:pt idx="519">
                  <c:v>0.36041666666666744</c:v>
                </c:pt>
                <c:pt idx="520">
                  <c:v>0.3611111111111111</c:v>
                </c:pt>
                <c:pt idx="521">
                  <c:v>0.36180555555555582</c:v>
                </c:pt>
                <c:pt idx="522">
                  <c:v>0.36250000000000032</c:v>
                </c:pt>
                <c:pt idx="523">
                  <c:v>0.36319444444444482</c:v>
                </c:pt>
                <c:pt idx="524">
                  <c:v>0.36388888888888993</c:v>
                </c:pt>
                <c:pt idx="525">
                  <c:v>0.36458333333333331</c:v>
                </c:pt>
                <c:pt idx="526">
                  <c:v>0.36527777777777837</c:v>
                </c:pt>
                <c:pt idx="527">
                  <c:v>0.36597222222222275</c:v>
                </c:pt>
                <c:pt idx="528">
                  <c:v>0.36666666666666725</c:v>
                </c:pt>
                <c:pt idx="529">
                  <c:v>0.36736111111111108</c:v>
                </c:pt>
                <c:pt idx="530">
                  <c:v>0.36805555555555558</c:v>
                </c:pt>
                <c:pt idx="531">
                  <c:v>0.36875000000000002</c:v>
                </c:pt>
                <c:pt idx="532">
                  <c:v>0.36944444444444496</c:v>
                </c:pt>
                <c:pt idx="533">
                  <c:v>0.37013888888888935</c:v>
                </c:pt>
                <c:pt idx="534">
                  <c:v>0.37083333333333335</c:v>
                </c:pt>
                <c:pt idx="535">
                  <c:v>0.37152777777777862</c:v>
                </c:pt>
                <c:pt idx="536">
                  <c:v>0.37222222222222268</c:v>
                </c:pt>
                <c:pt idx="537">
                  <c:v>0.37291666666666751</c:v>
                </c:pt>
                <c:pt idx="538">
                  <c:v>0.37361111111111112</c:v>
                </c:pt>
                <c:pt idx="539">
                  <c:v>0.37430555555555589</c:v>
                </c:pt>
                <c:pt idx="540">
                  <c:v>0.37500000000000039</c:v>
                </c:pt>
                <c:pt idx="541">
                  <c:v>0.37569444444444489</c:v>
                </c:pt>
                <c:pt idx="542">
                  <c:v>0.37638888888888999</c:v>
                </c:pt>
                <c:pt idx="543">
                  <c:v>0.37708333333333338</c:v>
                </c:pt>
                <c:pt idx="544">
                  <c:v>0.37777777777777843</c:v>
                </c:pt>
                <c:pt idx="545">
                  <c:v>0.37847222222222293</c:v>
                </c:pt>
                <c:pt idx="546">
                  <c:v>0.37916666666666737</c:v>
                </c:pt>
                <c:pt idx="547">
                  <c:v>0.37986111111111132</c:v>
                </c:pt>
                <c:pt idx="548">
                  <c:v>0.38055555555555581</c:v>
                </c:pt>
                <c:pt idx="549">
                  <c:v>0.38125000000000031</c:v>
                </c:pt>
                <c:pt idx="550">
                  <c:v>0.38194444444444497</c:v>
                </c:pt>
                <c:pt idx="551">
                  <c:v>0.38263888888888947</c:v>
                </c:pt>
                <c:pt idx="552">
                  <c:v>0.3833333333333333</c:v>
                </c:pt>
                <c:pt idx="553">
                  <c:v>0.38402777777777863</c:v>
                </c:pt>
                <c:pt idx="554">
                  <c:v>0.38472222222222263</c:v>
                </c:pt>
                <c:pt idx="555">
                  <c:v>0.38541666666666752</c:v>
                </c:pt>
                <c:pt idx="556">
                  <c:v>0.38611111111111118</c:v>
                </c:pt>
                <c:pt idx="557">
                  <c:v>0.38680555555555601</c:v>
                </c:pt>
                <c:pt idx="558">
                  <c:v>0.38750000000000046</c:v>
                </c:pt>
                <c:pt idx="559">
                  <c:v>0.3881944444444449</c:v>
                </c:pt>
                <c:pt idx="560">
                  <c:v>0.38888888888889012</c:v>
                </c:pt>
                <c:pt idx="561">
                  <c:v>0.38958333333333373</c:v>
                </c:pt>
                <c:pt idx="562">
                  <c:v>0.39027777777777856</c:v>
                </c:pt>
                <c:pt idx="563">
                  <c:v>0.390972222222223</c:v>
                </c:pt>
                <c:pt idx="564">
                  <c:v>0.39166666666666744</c:v>
                </c:pt>
                <c:pt idx="565">
                  <c:v>0.39236111111111138</c:v>
                </c:pt>
                <c:pt idx="566">
                  <c:v>0.39305555555555582</c:v>
                </c:pt>
                <c:pt idx="567">
                  <c:v>0.39375000000000032</c:v>
                </c:pt>
                <c:pt idx="568">
                  <c:v>0.39444444444444515</c:v>
                </c:pt>
                <c:pt idx="569">
                  <c:v>0.39513888888888954</c:v>
                </c:pt>
                <c:pt idx="570">
                  <c:v>0.39583333333333331</c:v>
                </c:pt>
                <c:pt idx="571">
                  <c:v>0.39652777777777876</c:v>
                </c:pt>
                <c:pt idx="572">
                  <c:v>0.39722222222222275</c:v>
                </c:pt>
                <c:pt idx="573">
                  <c:v>0.39791666666666758</c:v>
                </c:pt>
                <c:pt idx="574">
                  <c:v>0.39861111111111108</c:v>
                </c:pt>
                <c:pt idx="575">
                  <c:v>0.39930555555555608</c:v>
                </c:pt>
                <c:pt idx="576">
                  <c:v>0.40000000000000008</c:v>
                </c:pt>
                <c:pt idx="577">
                  <c:v>0.40069444444444446</c:v>
                </c:pt>
                <c:pt idx="578">
                  <c:v>0.40138888888888968</c:v>
                </c:pt>
                <c:pt idx="579">
                  <c:v>0.40208333333333335</c:v>
                </c:pt>
                <c:pt idx="580">
                  <c:v>0.40277777777777818</c:v>
                </c:pt>
                <c:pt idx="581">
                  <c:v>0.40347222222222268</c:v>
                </c:pt>
                <c:pt idx="582">
                  <c:v>0.40416666666666706</c:v>
                </c:pt>
                <c:pt idx="583">
                  <c:v>0.40486111111111112</c:v>
                </c:pt>
                <c:pt idx="584">
                  <c:v>0.4055555555555555</c:v>
                </c:pt>
                <c:pt idx="585">
                  <c:v>0.40625</c:v>
                </c:pt>
                <c:pt idx="586">
                  <c:v>0.40694444444444489</c:v>
                </c:pt>
                <c:pt idx="587">
                  <c:v>0.40763888888888888</c:v>
                </c:pt>
                <c:pt idx="588">
                  <c:v>0.40833333333333333</c:v>
                </c:pt>
                <c:pt idx="589">
                  <c:v>0.40902777777777843</c:v>
                </c:pt>
                <c:pt idx="590">
                  <c:v>0.40972222222222232</c:v>
                </c:pt>
                <c:pt idx="591">
                  <c:v>0.41041666666666737</c:v>
                </c:pt>
                <c:pt idx="592">
                  <c:v>0.41111111111111115</c:v>
                </c:pt>
                <c:pt idx="593">
                  <c:v>0.41180555555555581</c:v>
                </c:pt>
                <c:pt idx="594">
                  <c:v>0.41250000000000031</c:v>
                </c:pt>
                <c:pt idx="595">
                  <c:v>0.41319444444444442</c:v>
                </c:pt>
                <c:pt idx="596">
                  <c:v>0.41388888888888986</c:v>
                </c:pt>
                <c:pt idx="597">
                  <c:v>0.4145833333333333</c:v>
                </c:pt>
                <c:pt idx="598">
                  <c:v>0.41527777777777825</c:v>
                </c:pt>
                <c:pt idx="599">
                  <c:v>0.41597222222222263</c:v>
                </c:pt>
                <c:pt idx="600">
                  <c:v>0.41666666666666713</c:v>
                </c:pt>
                <c:pt idx="601">
                  <c:v>0.41736111111111118</c:v>
                </c:pt>
                <c:pt idx="602">
                  <c:v>0.41805555555555557</c:v>
                </c:pt>
                <c:pt idx="603">
                  <c:v>0.41875000000000001</c:v>
                </c:pt>
                <c:pt idx="604">
                  <c:v>0.4194444444444449</c:v>
                </c:pt>
                <c:pt idx="605">
                  <c:v>0.42013888888888934</c:v>
                </c:pt>
                <c:pt idx="606">
                  <c:v>0.42083333333333334</c:v>
                </c:pt>
                <c:pt idx="607">
                  <c:v>0.42152777777777856</c:v>
                </c:pt>
                <c:pt idx="608">
                  <c:v>0.42222222222222261</c:v>
                </c:pt>
                <c:pt idx="609">
                  <c:v>0.42291666666666744</c:v>
                </c:pt>
                <c:pt idx="610">
                  <c:v>0.4236111111111111</c:v>
                </c:pt>
                <c:pt idx="611">
                  <c:v>0.42430555555555582</c:v>
                </c:pt>
                <c:pt idx="612">
                  <c:v>0.42500000000000032</c:v>
                </c:pt>
                <c:pt idx="613">
                  <c:v>0.42569444444444482</c:v>
                </c:pt>
                <c:pt idx="614">
                  <c:v>0.42638888888888993</c:v>
                </c:pt>
                <c:pt idx="615">
                  <c:v>0.42708333333333331</c:v>
                </c:pt>
                <c:pt idx="616">
                  <c:v>0.42777777777777837</c:v>
                </c:pt>
                <c:pt idx="617">
                  <c:v>0.42847222222222275</c:v>
                </c:pt>
                <c:pt idx="618">
                  <c:v>0.42916666666666725</c:v>
                </c:pt>
                <c:pt idx="619">
                  <c:v>0.42986111111111108</c:v>
                </c:pt>
                <c:pt idx="620">
                  <c:v>0.43055555555555558</c:v>
                </c:pt>
                <c:pt idx="621">
                  <c:v>0.43125000000000002</c:v>
                </c:pt>
                <c:pt idx="622">
                  <c:v>0.43194444444444496</c:v>
                </c:pt>
                <c:pt idx="623">
                  <c:v>0.43263888888888935</c:v>
                </c:pt>
                <c:pt idx="624">
                  <c:v>0.43333333333333335</c:v>
                </c:pt>
                <c:pt idx="625">
                  <c:v>0.43402777777777862</c:v>
                </c:pt>
                <c:pt idx="626">
                  <c:v>0.43472222222222268</c:v>
                </c:pt>
                <c:pt idx="627">
                  <c:v>0.43541666666666751</c:v>
                </c:pt>
                <c:pt idx="628">
                  <c:v>0.43611111111111112</c:v>
                </c:pt>
                <c:pt idx="629">
                  <c:v>0.43680555555555589</c:v>
                </c:pt>
                <c:pt idx="630">
                  <c:v>0.43750000000000039</c:v>
                </c:pt>
                <c:pt idx="631">
                  <c:v>0.43819444444444489</c:v>
                </c:pt>
                <c:pt idx="632">
                  <c:v>0.43888888888888999</c:v>
                </c:pt>
                <c:pt idx="633">
                  <c:v>0.43958333333333338</c:v>
                </c:pt>
                <c:pt idx="634">
                  <c:v>0.44027777777777782</c:v>
                </c:pt>
                <c:pt idx="635">
                  <c:v>0.44097222222222232</c:v>
                </c:pt>
                <c:pt idx="636">
                  <c:v>0.44166666666666682</c:v>
                </c:pt>
                <c:pt idx="637">
                  <c:v>0.44236111111111115</c:v>
                </c:pt>
                <c:pt idx="638">
                  <c:v>0.44305555555555554</c:v>
                </c:pt>
                <c:pt idx="639">
                  <c:v>0.44375000000000003</c:v>
                </c:pt>
                <c:pt idx="640">
                  <c:v>0.44444444444444442</c:v>
                </c:pt>
                <c:pt idx="641">
                  <c:v>0.44513888888888892</c:v>
                </c:pt>
                <c:pt idx="642">
                  <c:v>0.44583333333333325</c:v>
                </c:pt>
                <c:pt idx="643">
                  <c:v>0.44652777777777825</c:v>
                </c:pt>
                <c:pt idx="644">
                  <c:v>0.4472222222222223</c:v>
                </c:pt>
                <c:pt idx="645">
                  <c:v>0.44791666666666713</c:v>
                </c:pt>
                <c:pt idx="646">
                  <c:v>0.44861111111111113</c:v>
                </c:pt>
                <c:pt idx="647">
                  <c:v>0.44930555555555557</c:v>
                </c:pt>
                <c:pt idx="648">
                  <c:v>0.45</c:v>
                </c:pt>
                <c:pt idx="649">
                  <c:v>0.45069444444444445</c:v>
                </c:pt>
                <c:pt idx="650">
                  <c:v>0.45138888888888973</c:v>
                </c:pt>
                <c:pt idx="651">
                  <c:v>0.45208333333333334</c:v>
                </c:pt>
                <c:pt idx="652">
                  <c:v>0.45277777777777817</c:v>
                </c:pt>
                <c:pt idx="653">
                  <c:v>0.45347222222222261</c:v>
                </c:pt>
                <c:pt idx="654">
                  <c:v>0.45416666666666705</c:v>
                </c:pt>
                <c:pt idx="655">
                  <c:v>0.4548611111111111</c:v>
                </c:pt>
                <c:pt idx="656">
                  <c:v>0.45555555555555555</c:v>
                </c:pt>
                <c:pt idx="657">
                  <c:v>0.45625000000000004</c:v>
                </c:pt>
                <c:pt idx="658">
                  <c:v>0.45694444444444482</c:v>
                </c:pt>
                <c:pt idx="659">
                  <c:v>0.45763888888888887</c:v>
                </c:pt>
                <c:pt idx="660">
                  <c:v>0.45833333333333326</c:v>
                </c:pt>
                <c:pt idx="661">
                  <c:v>0.45902777777777837</c:v>
                </c:pt>
                <c:pt idx="662">
                  <c:v>0.45972222222222231</c:v>
                </c:pt>
                <c:pt idx="663">
                  <c:v>0.46041666666666725</c:v>
                </c:pt>
                <c:pt idx="664">
                  <c:v>0.46111111111111103</c:v>
                </c:pt>
                <c:pt idx="665">
                  <c:v>0.46180555555555558</c:v>
                </c:pt>
                <c:pt idx="666">
                  <c:v>0.46250000000000002</c:v>
                </c:pt>
                <c:pt idx="667">
                  <c:v>0.46319444444444446</c:v>
                </c:pt>
                <c:pt idx="668">
                  <c:v>0.46388888888888968</c:v>
                </c:pt>
                <c:pt idx="669">
                  <c:v>0.46458333333333335</c:v>
                </c:pt>
                <c:pt idx="670">
                  <c:v>0.46527777777777818</c:v>
                </c:pt>
                <c:pt idx="671">
                  <c:v>0.46597222222222268</c:v>
                </c:pt>
                <c:pt idx="672">
                  <c:v>0.46666666666666706</c:v>
                </c:pt>
                <c:pt idx="673">
                  <c:v>0.46736111111111112</c:v>
                </c:pt>
                <c:pt idx="674">
                  <c:v>0.4680555555555555</c:v>
                </c:pt>
                <c:pt idx="675">
                  <c:v>0.46875</c:v>
                </c:pt>
                <c:pt idx="676">
                  <c:v>0.46944444444444489</c:v>
                </c:pt>
                <c:pt idx="677">
                  <c:v>0.47013888888888888</c:v>
                </c:pt>
                <c:pt idx="678">
                  <c:v>0.47083333333333333</c:v>
                </c:pt>
                <c:pt idx="679">
                  <c:v>0.47152777777777843</c:v>
                </c:pt>
                <c:pt idx="680">
                  <c:v>0.47222222222222232</c:v>
                </c:pt>
                <c:pt idx="681">
                  <c:v>0.47291666666666737</c:v>
                </c:pt>
                <c:pt idx="682">
                  <c:v>0.47361111111111115</c:v>
                </c:pt>
                <c:pt idx="683">
                  <c:v>0.47430555555555581</c:v>
                </c:pt>
                <c:pt idx="684">
                  <c:v>0.47500000000000031</c:v>
                </c:pt>
                <c:pt idx="685">
                  <c:v>0.47569444444444442</c:v>
                </c:pt>
                <c:pt idx="686">
                  <c:v>0.47638888888888986</c:v>
                </c:pt>
                <c:pt idx="687">
                  <c:v>0.4770833333333333</c:v>
                </c:pt>
                <c:pt idx="688">
                  <c:v>0.47777777777777825</c:v>
                </c:pt>
                <c:pt idx="689">
                  <c:v>0.47847222222222263</c:v>
                </c:pt>
                <c:pt idx="690">
                  <c:v>0.47916666666666713</c:v>
                </c:pt>
                <c:pt idx="691">
                  <c:v>0.47986111111111118</c:v>
                </c:pt>
                <c:pt idx="692">
                  <c:v>0.48055555555555557</c:v>
                </c:pt>
                <c:pt idx="693">
                  <c:v>0.48125000000000001</c:v>
                </c:pt>
                <c:pt idx="694">
                  <c:v>0.4819444444444449</c:v>
                </c:pt>
                <c:pt idx="695">
                  <c:v>0.48263888888888934</c:v>
                </c:pt>
                <c:pt idx="696">
                  <c:v>0.48333333333333334</c:v>
                </c:pt>
                <c:pt idx="697">
                  <c:v>0.48402777777777856</c:v>
                </c:pt>
                <c:pt idx="698">
                  <c:v>0.48472222222222261</c:v>
                </c:pt>
                <c:pt idx="699">
                  <c:v>0.48541666666666744</c:v>
                </c:pt>
                <c:pt idx="700">
                  <c:v>0.4861111111111111</c:v>
                </c:pt>
                <c:pt idx="701">
                  <c:v>0.48680555555555582</c:v>
                </c:pt>
                <c:pt idx="702">
                  <c:v>0.48750000000000032</c:v>
                </c:pt>
                <c:pt idx="703">
                  <c:v>0.48819444444444482</c:v>
                </c:pt>
                <c:pt idx="704">
                  <c:v>0.48888888888888993</c:v>
                </c:pt>
                <c:pt idx="705">
                  <c:v>0.48958333333333331</c:v>
                </c:pt>
                <c:pt idx="706">
                  <c:v>0.49027777777777837</c:v>
                </c:pt>
                <c:pt idx="707">
                  <c:v>0.49097222222222275</c:v>
                </c:pt>
                <c:pt idx="708">
                  <c:v>0.49166666666666725</c:v>
                </c:pt>
                <c:pt idx="709">
                  <c:v>0.49236111111111108</c:v>
                </c:pt>
                <c:pt idx="710">
                  <c:v>0.49305555555555558</c:v>
                </c:pt>
                <c:pt idx="711">
                  <c:v>0.49375000000000002</c:v>
                </c:pt>
                <c:pt idx="712">
                  <c:v>0.49444444444444496</c:v>
                </c:pt>
                <c:pt idx="713">
                  <c:v>0.49513888888888935</c:v>
                </c:pt>
                <c:pt idx="714">
                  <c:v>0.49583333333333335</c:v>
                </c:pt>
                <c:pt idx="715">
                  <c:v>0.49652777777777862</c:v>
                </c:pt>
                <c:pt idx="716">
                  <c:v>0.49722222222222268</c:v>
                </c:pt>
                <c:pt idx="717">
                  <c:v>0.49791666666666751</c:v>
                </c:pt>
                <c:pt idx="718">
                  <c:v>0.49861111111111112</c:v>
                </c:pt>
                <c:pt idx="719">
                  <c:v>0.49930555555555589</c:v>
                </c:pt>
                <c:pt idx="720">
                  <c:v>0.5</c:v>
                </c:pt>
                <c:pt idx="721">
                  <c:v>0.50069444444444522</c:v>
                </c:pt>
                <c:pt idx="722">
                  <c:v>0.50138888888888888</c:v>
                </c:pt>
                <c:pt idx="723">
                  <c:v>0.50208333333333333</c:v>
                </c:pt>
                <c:pt idx="724">
                  <c:v>0.50277777777777777</c:v>
                </c:pt>
                <c:pt idx="725">
                  <c:v>0.50347222222222132</c:v>
                </c:pt>
                <c:pt idx="726">
                  <c:v>0.50416666666666576</c:v>
                </c:pt>
                <c:pt idx="727">
                  <c:v>0.50486111111111109</c:v>
                </c:pt>
                <c:pt idx="728">
                  <c:v>0.50555555555555554</c:v>
                </c:pt>
                <c:pt idx="729">
                  <c:v>0.50624999999999998</c:v>
                </c:pt>
                <c:pt idx="730">
                  <c:v>0.50694444444444464</c:v>
                </c:pt>
                <c:pt idx="731">
                  <c:v>0.50763888888888964</c:v>
                </c:pt>
                <c:pt idx="732">
                  <c:v>0.5083333333333333</c:v>
                </c:pt>
                <c:pt idx="733">
                  <c:v>0.50902777777777752</c:v>
                </c:pt>
                <c:pt idx="734">
                  <c:v>0.50972222222222219</c:v>
                </c:pt>
                <c:pt idx="735">
                  <c:v>0.51041666666666563</c:v>
                </c:pt>
                <c:pt idx="736">
                  <c:v>0.51111111111111118</c:v>
                </c:pt>
                <c:pt idx="737">
                  <c:v>0.51180555555555562</c:v>
                </c:pt>
                <c:pt idx="738">
                  <c:v>0.51250000000000007</c:v>
                </c:pt>
                <c:pt idx="739">
                  <c:v>0.51319444444444462</c:v>
                </c:pt>
                <c:pt idx="740">
                  <c:v>0.51388888888888895</c:v>
                </c:pt>
                <c:pt idx="741">
                  <c:v>0.51458333333333328</c:v>
                </c:pt>
                <c:pt idx="742">
                  <c:v>0.5152777777777775</c:v>
                </c:pt>
                <c:pt idx="743">
                  <c:v>0.51597222222222217</c:v>
                </c:pt>
                <c:pt idx="744">
                  <c:v>0.5166666666666665</c:v>
                </c:pt>
                <c:pt idx="745">
                  <c:v>0.51736111111111049</c:v>
                </c:pt>
                <c:pt idx="746">
                  <c:v>0.5180555555555556</c:v>
                </c:pt>
                <c:pt idx="747">
                  <c:v>0.51874999999999993</c:v>
                </c:pt>
                <c:pt idx="748">
                  <c:v>0.5194444444444446</c:v>
                </c:pt>
                <c:pt idx="749">
                  <c:v>0.52013888888888882</c:v>
                </c:pt>
                <c:pt idx="750">
                  <c:v>0.5208333333333337</c:v>
                </c:pt>
                <c:pt idx="751">
                  <c:v>0.52152777777777759</c:v>
                </c:pt>
                <c:pt idx="752">
                  <c:v>0.52222222222222159</c:v>
                </c:pt>
                <c:pt idx="753">
                  <c:v>0.52291666666666659</c:v>
                </c:pt>
                <c:pt idx="754">
                  <c:v>0.52361111111111114</c:v>
                </c:pt>
                <c:pt idx="755">
                  <c:v>0.52430555555555569</c:v>
                </c:pt>
                <c:pt idx="756">
                  <c:v>0.52500000000000002</c:v>
                </c:pt>
                <c:pt idx="757">
                  <c:v>0.52569444444444535</c:v>
                </c:pt>
                <c:pt idx="758">
                  <c:v>0.52638888888888891</c:v>
                </c:pt>
                <c:pt idx="759">
                  <c:v>0.52708333333333335</c:v>
                </c:pt>
                <c:pt idx="760">
                  <c:v>0.52777777777777779</c:v>
                </c:pt>
                <c:pt idx="761">
                  <c:v>0.52847222222222157</c:v>
                </c:pt>
                <c:pt idx="762">
                  <c:v>0.52916666666666656</c:v>
                </c:pt>
                <c:pt idx="763">
                  <c:v>0.52986111111111112</c:v>
                </c:pt>
                <c:pt idx="764">
                  <c:v>0.53055555555555567</c:v>
                </c:pt>
                <c:pt idx="765">
                  <c:v>0.53125</c:v>
                </c:pt>
                <c:pt idx="766">
                  <c:v>0.53194444444444522</c:v>
                </c:pt>
                <c:pt idx="767">
                  <c:v>0.53263888888888966</c:v>
                </c:pt>
                <c:pt idx="768">
                  <c:v>0.53333333333333333</c:v>
                </c:pt>
                <c:pt idx="769">
                  <c:v>0.53402777777777777</c:v>
                </c:pt>
                <c:pt idx="770">
                  <c:v>0.53472222222222221</c:v>
                </c:pt>
                <c:pt idx="771">
                  <c:v>0.53541666666666576</c:v>
                </c:pt>
                <c:pt idx="772">
                  <c:v>0.53611111111111109</c:v>
                </c:pt>
                <c:pt idx="773">
                  <c:v>0.53680555555555565</c:v>
                </c:pt>
                <c:pt idx="774">
                  <c:v>0.53749999999999998</c:v>
                </c:pt>
                <c:pt idx="775">
                  <c:v>0.53819444444444464</c:v>
                </c:pt>
                <c:pt idx="776">
                  <c:v>0.53888888888888964</c:v>
                </c:pt>
                <c:pt idx="777">
                  <c:v>0.5395833333333333</c:v>
                </c:pt>
                <c:pt idx="778">
                  <c:v>0.54027777777777752</c:v>
                </c:pt>
                <c:pt idx="779">
                  <c:v>0.54097222222222219</c:v>
                </c:pt>
                <c:pt idx="780">
                  <c:v>0.54166666666666652</c:v>
                </c:pt>
                <c:pt idx="781">
                  <c:v>0.54236111111111118</c:v>
                </c:pt>
                <c:pt idx="782">
                  <c:v>0.54305555555555562</c:v>
                </c:pt>
                <c:pt idx="783">
                  <c:v>0.54375000000000062</c:v>
                </c:pt>
                <c:pt idx="784">
                  <c:v>0.54444444444444462</c:v>
                </c:pt>
                <c:pt idx="785">
                  <c:v>0.54513888888888895</c:v>
                </c:pt>
                <c:pt idx="786">
                  <c:v>0.54583333333333361</c:v>
                </c:pt>
                <c:pt idx="787">
                  <c:v>0.5465277777777775</c:v>
                </c:pt>
                <c:pt idx="788">
                  <c:v>0.54722222222222217</c:v>
                </c:pt>
                <c:pt idx="789">
                  <c:v>0.5479166666666665</c:v>
                </c:pt>
                <c:pt idx="790">
                  <c:v>0.54861111111111105</c:v>
                </c:pt>
                <c:pt idx="791">
                  <c:v>0.5493055555555556</c:v>
                </c:pt>
                <c:pt idx="792">
                  <c:v>0.54999999999999993</c:v>
                </c:pt>
                <c:pt idx="793">
                  <c:v>0.55069444444444549</c:v>
                </c:pt>
                <c:pt idx="794">
                  <c:v>0.55138888888888882</c:v>
                </c:pt>
                <c:pt idx="795">
                  <c:v>0.5520833333333337</c:v>
                </c:pt>
                <c:pt idx="796">
                  <c:v>0.55277777777777781</c:v>
                </c:pt>
                <c:pt idx="797">
                  <c:v>0.55347222222222159</c:v>
                </c:pt>
                <c:pt idx="798">
                  <c:v>0.55416666666666659</c:v>
                </c:pt>
                <c:pt idx="799">
                  <c:v>0.55486111111111114</c:v>
                </c:pt>
                <c:pt idx="800">
                  <c:v>0.55555555555555569</c:v>
                </c:pt>
                <c:pt idx="801">
                  <c:v>0.55625000000000002</c:v>
                </c:pt>
                <c:pt idx="802">
                  <c:v>0.55694444444444535</c:v>
                </c:pt>
                <c:pt idx="803">
                  <c:v>0.55763888888888979</c:v>
                </c:pt>
                <c:pt idx="804">
                  <c:v>0.55833333333333335</c:v>
                </c:pt>
                <c:pt idx="805">
                  <c:v>0.55902777777777779</c:v>
                </c:pt>
                <c:pt idx="806">
                  <c:v>0.55972222222222223</c:v>
                </c:pt>
                <c:pt idx="807">
                  <c:v>0.56041666666666656</c:v>
                </c:pt>
                <c:pt idx="808">
                  <c:v>0.56111111111111112</c:v>
                </c:pt>
                <c:pt idx="809">
                  <c:v>0.56180555555555645</c:v>
                </c:pt>
                <c:pt idx="810">
                  <c:v>0.5625</c:v>
                </c:pt>
                <c:pt idx="811">
                  <c:v>0.56319444444444522</c:v>
                </c:pt>
                <c:pt idx="812">
                  <c:v>0.56388888888888966</c:v>
                </c:pt>
                <c:pt idx="813">
                  <c:v>0.56458333333333333</c:v>
                </c:pt>
                <c:pt idx="814">
                  <c:v>0.56527777777777777</c:v>
                </c:pt>
                <c:pt idx="815">
                  <c:v>0.56597222222222221</c:v>
                </c:pt>
                <c:pt idx="816">
                  <c:v>0.56666666666666654</c:v>
                </c:pt>
                <c:pt idx="817">
                  <c:v>0.56736111111111109</c:v>
                </c:pt>
                <c:pt idx="818">
                  <c:v>0.56805555555555565</c:v>
                </c:pt>
                <c:pt idx="819">
                  <c:v>0.56875000000000064</c:v>
                </c:pt>
                <c:pt idx="820">
                  <c:v>0.56944444444444464</c:v>
                </c:pt>
                <c:pt idx="821">
                  <c:v>0.57013888888888964</c:v>
                </c:pt>
                <c:pt idx="822">
                  <c:v>0.57083333333333364</c:v>
                </c:pt>
                <c:pt idx="823">
                  <c:v>0.57152777777777752</c:v>
                </c:pt>
                <c:pt idx="824">
                  <c:v>0.57222222222222219</c:v>
                </c:pt>
                <c:pt idx="825">
                  <c:v>0.57291666666666652</c:v>
                </c:pt>
                <c:pt idx="826">
                  <c:v>0.57361111111111163</c:v>
                </c:pt>
                <c:pt idx="827">
                  <c:v>0.57430555555555562</c:v>
                </c:pt>
                <c:pt idx="828">
                  <c:v>0.57500000000000062</c:v>
                </c:pt>
                <c:pt idx="829">
                  <c:v>0.57569444444444551</c:v>
                </c:pt>
                <c:pt idx="830">
                  <c:v>0.57638888888888895</c:v>
                </c:pt>
                <c:pt idx="831">
                  <c:v>0.57708333333333361</c:v>
                </c:pt>
                <c:pt idx="832">
                  <c:v>0.57777777777777783</c:v>
                </c:pt>
                <c:pt idx="833">
                  <c:v>0.57847222222222217</c:v>
                </c:pt>
                <c:pt idx="834">
                  <c:v>0.5791666666666665</c:v>
                </c:pt>
                <c:pt idx="835">
                  <c:v>0.57986111111111105</c:v>
                </c:pt>
                <c:pt idx="836">
                  <c:v>0.58055555555555549</c:v>
                </c:pt>
                <c:pt idx="837">
                  <c:v>0.58124999999999949</c:v>
                </c:pt>
                <c:pt idx="838">
                  <c:v>0.5819444444444446</c:v>
                </c:pt>
                <c:pt idx="839">
                  <c:v>0.58263888888888882</c:v>
                </c:pt>
                <c:pt idx="840">
                  <c:v>0.58333333333333337</c:v>
                </c:pt>
                <c:pt idx="841">
                  <c:v>0.58402777777777759</c:v>
                </c:pt>
                <c:pt idx="842">
                  <c:v>0.58472222222222159</c:v>
                </c:pt>
                <c:pt idx="843">
                  <c:v>0.58541666666666548</c:v>
                </c:pt>
                <c:pt idx="844">
                  <c:v>0.58611111111111058</c:v>
                </c:pt>
                <c:pt idx="845">
                  <c:v>0.58680555555555569</c:v>
                </c:pt>
                <c:pt idx="846">
                  <c:v>0.58749999999999958</c:v>
                </c:pt>
                <c:pt idx="847">
                  <c:v>0.58819444444444469</c:v>
                </c:pt>
                <c:pt idx="848">
                  <c:v>0.58888888888888891</c:v>
                </c:pt>
                <c:pt idx="849">
                  <c:v>0.58958333333333257</c:v>
                </c:pt>
                <c:pt idx="850">
                  <c:v>0.59027777777777757</c:v>
                </c:pt>
                <c:pt idx="851">
                  <c:v>0.59097222222222157</c:v>
                </c:pt>
                <c:pt idx="852">
                  <c:v>0.59166666666666656</c:v>
                </c:pt>
                <c:pt idx="853">
                  <c:v>0.59236111111111056</c:v>
                </c:pt>
                <c:pt idx="854">
                  <c:v>0.59305555555555567</c:v>
                </c:pt>
                <c:pt idx="855">
                  <c:v>0.59375</c:v>
                </c:pt>
                <c:pt idx="856">
                  <c:v>0.59444444444444444</c:v>
                </c:pt>
                <c:pt idx="857">
                  <c:v>0.59513888888888888</c:v>
                </c:pt>
                <c:pt idx="858">
                  <c:v>0.59583333333333333</c:v>
                </c:pt>
                <c:pt idx="859">
                  <c:v>0.59652777777777699</c:v>
                </c:pt>
                <c:pt idx="860">
                  <c:v>0.59722222222222132</c:v>
                </c:pt>
                <c:pt idx="861">
                  <c:v>0.59791666666666576</c:v>
                </c:pt>
                <c:pt idx="862">
                  <c:v>0.59861111111111109</c:v>
                </c:pt>
                <c:pt idx="863">
                  <c:v>0.59930555555555554</c:v>
                </c:pt>
                <c:pt idx="864">
                  <c:v>0.60000000000000064</c:v>
                </c:pt>
                <c:pt idx="865">
                  <c:v>0.60069444444444575</c:v>
                </c:pt>
                <c:pt idx="866">
                  <c:v>0.60138888888888964</c:v>
                </c:pt>
                <c:pt idx="867">
                  <c:v>0.60208333333333364</c:v>
                </c:pt>
                <c:pt idx="868">
                  <c:v>0.60277777777777775</c:v>
                </c:pt>
                <c:pt idx="869">
                  <c:v>0.60347222222222219</c:v>
                </c:pt>
                <c:pt idx="870">
                  <c:v>0.60416666666666652</c:v>
                </c:pt>
                <c:pt idx="871">
                  <c:v>0.60486111111111163</c:v>
                </c:pt>
                <c:pt idx="872">
                  <c:v>0.60555555555555562</c:v>
                </c:pt>
                <c:pt idx="873">
                  <c:v>0.60625000000000062</c:v>
                </c:pt>
                <c:pt idx="874">
                  <c:v>0.60694444444444551</c:v>
                </c:pt>
                <c:pt idx="875">
                  <c:v>0.60763888888889006</c:v>
                </c:pt>
                <c:pt idx="876">
                  <c:v>0.60833333333333361</c:v>
                </c:pt>
                <c:pt idx="877">
                  <c:v>0.60902777777777783</c:v>
                </c:pt>
                <c:pt idx="878">
                  <c:v>0.60972222222222261</c:v>
                </c:pt>
                <c:pt idx="879">
                  <c:v>0.6104166666666665</c:v>
                </c:pt>
                <c:pt idx="880">
                  <c:v>0.61111111111111105</c:v>
                </c:pt>
                <c:pt idx="881">
                  <c:v>0.6118055555555566</c:v>
                </c:pt>
                <c:pt idx="882">
                  <c:v>0.61249999999999993</c:v>
                </c:pt>
                <c:pt idx="883">
                  <c:v>0.61319444444444549</c:v>
                </c:pt>
                <c:pt idx="884">
                  <c:v>0.61388888888888982</c:v>
                </c:pt>
                <c:pt idx="885">
                  <c:v>0.6145833333333337</c:v>
                </c:pt>
                <c:pt idx="886">
                  <c:v>0.61527777777777781</c:v>
                </c:pt>
                <c:pt idx="887">
                  <c:v>0.61597222222222225</c:v>
                </c:pt>
                <c:pt idx="888">
                  <c:v>0.6166666666666667</c:v>
                </c:pt>
                <c:pt idx="889">
                  <c:v>0.61736111111111114</c:v>
                </c:pt>
                <c:pt idx="890">
                  <c:v>0.61805555555555658</c:v>
                </c:pt>
                <c:pt idx="891">
                  <c:v>0.61875000000000102</c:v>
                </c:pt>
                <c:pt idx="892">
                  <c:v>0.61944444444444535</c:v>
                </c:pt>
                <c:pt idx="893">
                  <c:v>0.62013888888888979</c:v>
                </c:pt>
                <c:pt idx="894">
                  <c:v>0.62083333333333424</c:v>
                </c:pt>
                <c:pt idx="895">
                  <c:v>0.62152777777777779</c:v>
                </c:pt>
                <c:pt idx="896">
                  <c:v>0.62222222222222223</c:v>
                </c:pt>
                <c:pt idx="897">
                  <c:v>0.62291666666666667</c:v>
                </c:pt>
                <c:pt idx="898">
                  <c:v>0.623611111111112</c:v>
                </c:pt>
                <c:pt idx="899">
                  <c:v>0.62430555555555645</c:v>
                </c:pt>
                <c:pt idx="900">
                  <c:v>0.62500000000000089</c:v>
                </c:pt>
                <c:pt idx="901">
                  <c:v>0.625694444444446</c:v>
                </c:pt>
                <c:pt idx="902">
                  <c:v>0.62638888888888966</c:v>
                </c:pt>
                <c:pt idx="903">
                  <c:v>0.6270833333333341</c:v>
                </c:pt>
                <c:pt idx="904">
                  <c:v>0.62777777777777855</c:v>
                </c:pt>
                <c:pt idx="905">
                  <c:v>0.62847222222222221</c:v>
                </c:pt>
                <c:pt idx="906">
                  <c:v>0.62916666666666654</c:v>
                </c:pt>
                <c:pt idx="907">
                  <c:v>0.62986111111111165</c:v>
                </c:pt>
                <c:pt idx="908">
                  <c:v>0.63055555555555565</c:v>
                </c:pt>
                <c:pt idx="909">
                  <c:v>0.63125000000000064</c:v>
                </c:pt>
                <c:pt idx="910">
                  <c:v>0.63194444444444575</c:v>
                </c:pt>
                <c:pt idx="911">
                  <c:v>0.63263888888889031</c:v>
                </c:pt>
                <c:pt idx="912">
                  <c:v>0.63333333333333364</c:v>
                </c:pt>
                <c:pt idx="913">
                  <c:v>0.63402777777777775</c:v>
                </c:pt>
                <c:pt idx="914">
                  <c:v>0.63472222222222263</c:v>
                </c:pt>
                <c:pt idx="915">
                  <c:v>0.63541666666666652</c:v>
                </c:pt>
                <c:pt idx="916">
                  <c:v>0.63611111111111163</c:v>
                </c:pt>
                <c:pt idx="917">
                  <c:v>0.63680555555555673</c:v>
                </c:pt>
                <c:pt idx="918">
                  <c:v>0.63750000000000062</c:v>
                </c:pt>
                <c:pt idx="919">
                  <c:v>0.63819444444444551</c:v>
                </c:pt>
                <c:pt idx="920">
                  <c:v>0.63888888888889006</c:v>
                </c:pt>
                <c:pt idx="921">
                  <c:v>0.63958333333333361</c:v>
                </c:pt>
                <c:pt idx="922">
                  <c:v>0.64027777777777783</c:v>
                </c:pt>
                <c:pt idx="923">
                  <c:v>0.64097222222222261</c:v>
                </c:pt>
                <c:pt idx="924">
                  <c:v>0.64166666666666672</c:v>
                </c:pt>
                <c:pt idx="925">
                  <c:v>0.64236111111111105</c:v>
                </c:pt>
                <c:pt idx="926">
                  <c:v>0.6430555555555566</c:v>
                </c:pt>
                <c:pt idx="927">
                  <c:v>0.64375000000000093</c:v>
                </c:pt>
                <c:pt idx="928">
                  <c:v>0.64444444444444549</c:v>
                </c:pt>
                <c:pt idx="929">
                  <c:v>0.64513888888888982</c:v>
                </c:pt>
                <c:pt idx="930">
                  <c:v>0.64583333333333448</c:v>
                </c:pt>
                <c:pt idx="931">
                  <c:v>0.64652777777777781</c:v>
                </c:pt>
                <c:pt idx="932">
                  <c:v>0.64722222222222225</c:v>
                </c:pt>
                <c:pt idx="933">
                  <c:v>0.6479166666666667</c:v>
                </c:pt>
                <c:pt idx="934">
                  <c:v>0.64861111111111214</c:v>
                </c:pt>
                <c:pt idx="935">
                  <c:v>0.64930555555555658</c:v>
                </c:pt>
                <c:pt idx="936">
                  <c:v>0.65000000000000102</c:v>
                </c:pt>
                <c:pt idx="937">
                  <c:v>0.65069444444444624</c:v>
                </c:pt>
                <c:pt idx="938">
                  <c:v>0.65138888888888979</c:v>
                </c:pt>
                <c:pt idx="939">
                  <c:v>0.65208333333333424</c:v>
                </c:pt>
                <c:pt idx="940">
                  <c:v>0.65277777777777868</c:v>
                </c:pt>
                <c:pt idx="941">
                  <c:v>0.65347222222222223</c:v>
                </c:pt>
                <c:pt idx="942">
                  <c:v>0.65416666666666667</c:v>
                </c:pt>
                <c:pt idx="943">
                  <c:v>0.654861111111112</c:v>
                </c:pt>
                <c:pt idx="944">
                  <c:v>0.65555555555555645</c:v>
                </c:pt>
                <c:pt idx="945">
                  <c:v>0.65625000000000089</c:v>
                </c:pt>
                <c:pt idx="946">
                  <c:v>0.656944444444446</c:v>
                </c:pt>
                <c:pt idx="947">
                  <c:v>0.65763888888889044</c:v>
                </c:pt>
                <c:pt idx="948">
                  <c:v>0.6583333333333341</c:v>
                </c:pt>
                <c:pt idx="949">
                  <c:v>0.65902777777777855</c:v>
                </c:pt>
                <c:pt idx="950">
                  <c:v>0.65972222222222265</c:v>
                </c:pt>
                <c:pt idx="951">
                  <c:v>0.66041666666666654</c:v>
                </c:pt>
                <c:pt idx="952">
                  <c:v>0.66111111111111165</c:v>
                </c:pt>
                <c:pt idx="953">
                  <c:v>0.66180555555555698</c:v>
                </c:pt>
                <c:pt idx="954">
                  <c:v>0.66250000000000064</c:v>
                </c:pt>
                <c:pt idx="955">
                  <c:v>0.66319444444444575</c:v>
                </c:pt>
                <c:pt idx="956">
                  <c:v>0.66388888888889031</c:v>
                </c:pt>
                <c:pt idx="957">
                  <c:v>0.66458333333333364</c:v>
                </c:pt>
                <c:pt idx="958">
                  <c:v>0.66527777777777775</c:v>
                </c:pt>
                <c:pt idx="959">
                  <c:v>0.66597222222222263</c:v>
                </c:pt>
                <c:pt idx="960">
                  <c:v>0.66666666666666663</c:v>
                </c:pt>
                <c:pt idx="961">
                  <c:v>0.66736111111111163</c:v>
                </c:pt>
                <c:pt idx="962">
                  <c:v>0.66805555555555673</c:v>
                </c:pt>
                <c:pt idx="963">
                  <c:v>0.66875000000000129</c:v>
                </c:pt>
                <c:pt idx="964">
                  <c:v>0.66944444444444551</c:v>
                </c:pt>
                <c:pt idx="965">
                  <c:v>0.67013888888888995</c:v>
                </c:pt>
                <c:pt idx="966">
                  <c:v>0.6708333333333345</c:v>
                </c:pt>
                <c:pt idx="967">
                  <c:v>0.67152777777777783</c:v>
                </c:pt>
                <c:pt idx="968">
                  <c:v>0.67222222222222261</c:v>
                </c:pt>
                <c:pt idx="969">
                  <c:v>0.67291666666666661</c:v>
                </c:pt>
                <c:pt idx="970">
                  <c:v>0.67361111111111216</c:v>
                </c:pt>
                <c:pt idx="971">
                  <c:v>0.6743055555555566</c:v>
                </c:pt>
                <c:pt idx="972">
                  <c:v>0.67500000000000093</c:v>
                </c:pt>
                <c:pt idx="973">
                  <c:v>0.67569444444444615</c:v>
                </c:pt>
                <c:pt idx="974">
                  <c:v>0.67638888888888993</c:v>
                </c:pt>
                <c:pt idx="975">
                  <c:v>0.67708333333333448</c:v>
                </c:pt>
                <c:pt idx="976">
                  <c:v>0.6777777777777787</c:v>
                </c:pt>
                <c:pt idx="977">
                  <c:v>0.67847222222222225</c:v>
                </c:pt>
                <c:pt idx="978">
                  <c:v>0.6791666666666667</c:v>
                </c:pt>
                <c:pt idx="979">
                  <c:v>0.67986111111111214</c:v>
                </c:pt>
                <c:pt idx="980">
                  <c:v>0.68055555555555569</c:v>
                </c:pt>
                <c:pt idx="981">
                  <c:v>0.68125000000000002</c:v>
                </c:pt>
                <c:pt idx="982">
                  <c:v>0.68194444444444535</c:v>
                </c:pt>
                <c:pt idx="983">
                  <c:v>0.68263888888888979</c:v>
                </c:pt>
                <c:pt idx="984">
                  <c:v>0.68333333333333324</c:v>
                </c:pt>
                <c:pt idx="985">
                  <c:v>0.68402777777777779</c:v>
                </c:pt>
                <c:pt idx="986">
                  <c:v>0.68472222222222223</c:v>
                </c:pt>
                <c:pt idx="987">
                  <c:v>0.68541666666666656</c:v>
                </c:pt>
                <c:pt idx="988">
                  <c:v>0.68611111111111101</c:v>
                </c:pt>
                <c:pt idx="989">
                  <c:v>0.68680555555555645</c:v>
                </c:pt>
                <c:pt idx="990">
                  <c:v>0.6875</c:v>
                </c:pt>
                <c:pt idx="991">
                  <c:v>0.68819444444444522</c:v>
                </c:pt>
                <c:pt idx="992">
                  <c:v>0.68888888888888977</c:v>
                </c:pt>
                <c:pt idx="993">
                  <c:v>0.68958333333333333</c:v>
                </c:pt>
                <c:pt idx="994">
                  <c:v>0.69027777777777777</c:v>
                </c:pt>
                <c:pt idx="995">
                  <c:v>0.69097222222222221</c:v>
                </c:pt>
                <c:pt idx="996">
                  <c:v>0.69166666666666676</c:v>
                </c:pt>
                <c:pt idx="997">
                  <c:v>0.69236111111111109</c:v>
                </c:pt>
                <c:pt idx="998">
                  <c:v>0.69305555555555565</c:v>
                </c:pt>
                <c:pt idx="999">
                  <c:v>0.69375000000000064</c:v>
                </c:pt>
                <c:pt idx="1000">
                  <c:v>0.69444444444444464</c:v>
                </c:pt>
                <c:pt idx="1001">
                  <c:v>0.69513888888888964</c:v>
                </c:pt>
                <c:pt idx="1002">
                  <c:v>0.69583333333333364</c:v>
                </c:pt>
                <c:pt idx="1003">
                  <c:v>0.69652777777777752</c:v>
                </c:pt>
                <c:pt idx="1004">
                  <c:v>0.6972222222222223</c:v>
                </c:pt>
                <c:pt idx="1005">
                  <c:v>0.69791666666666652</c:v>
                </c:pt>
                <c:pt idx="1006">
                  <c:v>0.69861111111111163</c:v>
                </c:pt>
                <c:pt idx="1007">
                  <c:v>0.69930555555555562</c:v>
                </c:pt>
                <c:pt idx="1008">
                  <c:v>0.70000000000000062</c:v>
                </c:pt>
                <c:pt idx="1009">
                  <c:v>0.70069444444444551</c:v>
                </c:pt>
                <c:pt idx="1010">
                  <c:v>0.70138888888888884</c:v>
                </c:pt>
                <c:pt idx="1011">
                  <c:v>0.70208333333333361</c:v>
                </c:pt>
                <c:pt idx="1012">
                  <c:v>0.70277777777777783</c:v>
                </c:pt>
                <c:pt idx="1013">
                  <c:v>0.70347222222222217</c:v>
                </c:pt>
                <c:pt idx="1014">
                  <c:v>0.7041666666666665</c:v>
                </c:pt>
                <c:pt idx="1015">
                  <c:v>0.7048611111111116</c:v>
                </c:pt>
                <c:pt idx="1016">
                  <c:v>0.7055555555555556</c:v>
                </c:pt>
                <c:pt idx="1017">
                  <c:v>0.70624999999999993</c:v>
                </c:pt>
                <c:pt idx="1018">
                  <c:v>0.70694444444444526</c:v>
                </c:pt>
                <c:pt idx="1019">
                  <c:v>0.70763888888888993</c:v>
                </c:pt>
                <c:pt idx="1020">
                  <c:v>0.7083333333333337</c:v>
                </c:pt>
                <c:pt idx="1021">
                  <c:v>0.7090277777777777</c:v>
                </c:pt>
                <c:pt idx="1022">
                  <c:v>0.70972222222222225</c:v>
                </c:pt>
                <c:pt idx="1023">
                  <c:v>0.71041666666666659</c:v>
                </c:pt>
                <c:pt idx="1024">
                  <c:v>0.71111111111111114</c:v>
                </c:pt>
                <c:pt idx="1025">
                  <c:v>0.71180555555555636</c:v>
                </c:pt>
                <c:pt idx="1026">
                  <c:v>0.71250000000000002</c:v>
                </c:pt>
                <c:pt idx="1027">
                  <c:v>0.71319444444444535</c:v>
                </c:pt>
                <c:pt idx="1028">
                  <c:v>0.71388888888888979</c:v>
                </c:pt>
                <c:pt idx="1029">
                  <c:v>0.71458333333333324</c:v>
                </c:pt>
                <c:pt idx="1030">
                  <c:v>0.71527777777777779</c:v>
                </c:pt>
                <c:pt idx="1031">
                  <c:v>0.71597222222222223</c:v>
                </c:pt>
                <c:pt idx="1032">
                  <c:v>0.71666666666666667</c:v>
                </c:pt>
                <c:pt idx="1033">
                  <c:v>0.71736111111111101</c:v>
                </c:pt>
                <c:pt idx="1034">
                  <c:v>0.71805555555555645</c:v>
                </c:pt>
                <c:pt idx="1035">
                  <c:v>0.71875000000000089</c:v>
                </c:pt>
                <c:pt idx="1036">
                  <c:v>0.71944444444444522</c:v>
                </c:pt>
                <c:pt idx="1037">
                  <c:v>0.72013888888888977</c:v>
                </c:pt>
                <c:pt idx="1038">
                  <c:v>0.7208333333333341</c:v>
                </c:pt>
                <c:pt idx="1039">
                  <c:v>0.72152777777777777</c:v>
                </c:pt>
                <c:pt idx="1040">
                  <c:v>0.72222222222222221</c:v>
                </c:pt>
                <c:pt idx="1041">
                  <c:v>0.72291666666666676</c:v>
                </c:pt>
                <c:pt idx="1042">
                  <c:v>0.72361111111111165</c:v>
                </c:pt>
                <c:pt idx="1043">
                  <c:v>0.72430555555555565</c:v>
                </c:pt>
                <c:pt idx="1044">
                  <c:v>0.72500000000000064</c:v>
                </c:pt>
                <c:pt idx="1045">
                  <c:v>0.72569444444444586</c:v>
                </c:pt>
                <c:pt idx="1046">
                  <c:v>0.72638888888888964</c:v>
                </c:pt>
                <c:pt idx="1047">
                  <c:v>0.72708333333333364</c:v>
                </c:pt>
                <c:pt idx="1048">
                  <c:v>0.72777777777777775</c:v>
                </c:pt>
                <c:pt idx="1049">
                  <c:v>0.7284722222222223</c:v>
                </c:pt>
                <c:pt idx="1050">
                  <c:v>0.72916666666666652</c:v>
                </c:pt>
                <c:pt idx="1051">
                  <c:v>0.72986111111111163</c:v>
                </c:pt>
                <c:pt idx="1052">
                  <c:v>0.73055555555555562</c:v>
                </c:pt>
                <c:pt idx="1053">
                  <c:v>0.73125000000000062</c:v>
                </c:pt>
                <c:pt idx="1054">
                  <c:v>0.73194444444444551</c:v>
                </c:pt>
                <c:pt idx="1055">
                  <c:v>0.73263888888888995</c:v>
                </c:pt>
                <c:pt idx="1056">
                  <c:v>0.73333333333333361</c:v>
                </c:pt>
                <c:pt idx="1057">
                  <c:v>0.73402777777777783</c:v>
                </c:pt>
                <c:pt idx="1058">
                  <c:v>0.73472222222222261</c:v>
                </c:pt>
                <c:pt idx="1059">
                  <c:v>0.7354166666666665</c:v>
                </c:pt>
                <c:pt idx="1060">
                  <c:v>0.7361111111111116</c:v>
                </c:pt>
                <c:pt idx="1061">
                  <c:v>0.7368055555555566</c:v>
                </c:pt>
                <c:pt idx="1062">
                  <c:v>0.73749999999999993</c:v>
                </c:pt>
                <c:pt idx="1063">
                  <c:v>0.73819444444444526</c:v>
                </c:pt>
                <c:pt idx="1064">
                  <c:v>0.73888888888888993</c:v>
                </c:pt>
                <c:pt idx="1065">
                  <c:v>0.7395833333333337</c:v>
                </c:pt>
                <c:pt idx="1066">
                  <c:v>0.7402777777777777</c:v>
                </c:pt>
                <c:pt idx="1067">
                  <c:v>0.74097222222222225</c:v>
                </c:pt>
                <c:pt idx="1068">
                  <c:v>0.7416666666666667</c:v>
                </c:pt>
                <c:pt idx="1069">
                  <c:v>0.74236111111111114</c:v>
                </c:pt>
                <c:pt idx="1070">
                  <c:v>0.74305555555555636</c:v>
                </c:pt>
                <c:pt idx="1071">
                  <c:v>0.74375000000000102</c:v>
                </c:pt>
                <c:pt idx="1072">
                  <c:v>0.74444444444444535</c:v>
                </c:pt>
                <c:pt idx="1073">
                  <c:v>0.74513888888888979</c:v>
                </c:pt>
                <c:pt idx="1074">
                  <c:v>0.74583333333333413</c:v>
                </c:pt>
                <c:pt idx="1075">
                  <c:v>0.74652777777777779</c:v>
                </c:pt>
                <c:pt idx="1076">
                  <c:v>0.74722222222222223</c:v>
                </c:pt>
                <c:pt idx="1077">
                  <c:v>0.74791666666666667</c:v>
                </c:pt>
                <c:pt idx="1078">
                  <c:v>0.74861111111111189</c:v>
                </c:pt>
                <c:pt idx="1079">
                  <c:v>0.74930555555555645</c:v>
                </c:pt>
                <c:pt idx="1080">
                  <c:v>0.75000000000000089</c:v>
                </c:pt>
                <c:pt idx="1081">
                  <c:v>0.750694444444446</c:v>
                </c:pt>
                <c:pt idx="1082">
                  <c:v>0.75138888888888977</c:v>
                </c:pt>
                <c:pt idx="1083">
                  <c:v>0.7520833333333341</c:v>
                </c:pt>
                <c:pt idx="1084">
                  <c:v>0.75277777777777855</c:v>
                </c:pt>
                <c:pt idx="1085">
                  <c:v>0.75347222222222221</c:v>
                </c:pt>
                <c:pt idx="1086">
                  <c:v>0.75416666666666676</c:v>
                </c:pt>
                <c:pt idx="1087">
                  <c:v>0.75486111111111165</c:v>
                </c:pt>
                <c:pt idx="1088">
                  <c:v>0.75555555555555565</c:v>
                </c:pt>
                <c:pt idx="1089">
                  <c:v>0.75625000000000064</c:v>
                </c:pt>
                <c:pt idx="1090">
                  <c:v>0.75694444444444586</c:v>
                </c:pt>
                <c:pt idx="1091">
                  <c:v>0.75763888888889031</c:v>
                </c:pt>
                <c:pt idx="1092">
                  <c:v>0.75833333333333364</c:v>
                </c:pt>
                <c:pt idx="1093">
                  <c:v>0.75902777777777775</c:v>
                </c:pt>
                <c:pt idx="1094">
                  <c:v>0.75972222222222263</c:v>
                </c:pt>
                <c:pt idx="1095">
                  <c:v>0.76041666666666652</c:v>
                </c:pt>
                <c:pt idx="1096">
                  <c:v>0.76111111111111163</c:v>
                </c:pt>
                <c:pt idx="1097">
                  <c:v>0.76180555555555673</c:v>
                </c:pt>
                <c:pt idx="1098">
                  <c:v>0.76250000000000062</c:v>
                </c:pt>
                <c:pt idx="1099">
                  <c:v>0.76319444444444551</c:v>
                </c:pt>
                <c:pt idx="1100">
                  <c:v>0.76388888888888995</c:v>
                </c:pt>
                <c:pt idx="1101">
                  <c:v>0.76458333333333361</c:v>
                </c:pt>
                <c:pt idx="1102">
                  <c:v>0.76527777777777783</c:v>
                </c:pt>
                <c:pt idx="1103">
                  <c:v>0.76597222222222261</c:v>
                </c:pt>
                <c:pt idx="1104">
                  <c:v>0.76666666666666661</c:v>
                </c:pt>
                <c:pt idx="1105">
                  <c:v>0.7673611111111116</c:v>
                </c:pt>
                <c:pt idx="1106">
                  <c:v>0.7680555555555566</c:v>
                </c:pt>
                <c:pt idx="1107">
                  <c:v>0.76875000000000093</c:v>
                </c:pt>
                <c:pt idx="1108">
                  <c:v>0.76944444444444526</c:v>
                </c:pt>
                <c:pt idx="1109">
                  <c:v>0.77013888888888993</c:v>
                </c:pt>
                <c:pt idx="1110">
                  <c:v>0.77083333333333448</c:v>
                </c:pt>
                <c:pt idx="1111">
                  <c:v>0.7715277777777777</c:v>
                </c:pt>
                <c:pt idx="1112">
                  <c:v>0.77222222222222225</c:v>
                </c:pt>
                <c:pt idx="1113">
                  <c:v>0.7729166666666667</c:v>
                </c:pt>
                <c:pt idx="1114">
                  <c:v>0.77361111111111214</c:v>
                </c:pt>
                <c:pt idx="1115">
                  <c:v>0.77430555555555636</c:v>
                </c:pt>
                <c:pt idx="1116">
                  <c:v>0.77500000000000102</c:v>
                </c:pt>
                <c:pt idx="1117">
                  <c:v>0.77569444444444624</c:v>
                </c:pt>
                <c:pt idx="1118">
                  <c:v>0.77638888888888979</c:v>
                </c:pt>
                <c:pt idx="1119">
                  <c:v>0.77708333333333413</c:v>
                </c:pt>
                <c:pt idx="1120">
                  <c:v>0.77777777777777868</c:v>
                </c:pt>
                <c:pt idx="1121">
                  <c:v>0.77847222222222223</c:v>
                </c:pt>
                <c:pt idx="1122">
                  <c:v>0.77916666666666667</c:v>
                </c:pt>
                <c:pt idx="1123">
                  <c:v>0.77986111111111189</c:v>
                </c:pt>
                <c:pt idx="1124">
                  <c:v>0.78055555555555567</c:v>
                </c:pt>
                <c:pt idx="1125">
                  <c:v>0.78125</c:v>
                </c:pt>
                <c:pt idx="1126">
                  <c:v>0.78194444444444522</c:v>
                </c:pt>
                <c:pt idx="1127">
                  <c:v>0.78263888888888977</c:v>
                </c:pt>
                <c:pt idx="1128">
                  <c:v>0.78333333333333333</c:v>
                </c:pt>
                <c:pt idx="1129">
                  <c:v>0.78402777777777777</c:v>
                </c:pt>
                <c:pt idx="1130">
                  <c:v>0.78472222222222221</c:v>
                </c:pt>
                <c:pt idx="1131">
                  <c:v>0.78541666666666587</c:v>
                </c:pt>
                <c:pt idx="1132">
                  <c:v>0.78611111111111109</c:v>
                </c:pt>
                <c:pt idx="1133">
                  <c:v>0.78680555555555565</c:v>
                </c:pt>
                <c:pt idx="1134">
                  <c:v>0.78749999999999998</c:v>
                </c:pt>
                <c:pt idx="1135">
                  <c:v>0.78819444444444464</c:v>
                </c:pt>
                <c:pt idx="1136">
                  <c:v>0.78888888888888964</c:v>
                </c:pt>
                <c:pt idx="1137">
                  <c:v>0.7895833333333333</c:v>
                </c:pt>
                <c:pt idx="1138">
                  <c:v>0.79027777777777752</c:v>
                </c:pt>
                <c:pt idx="1139">
                  <c:v>0.7909722222222223</c:v>
                </c:pt>
                <c:pt idx="1140">
                  <c:v>0.79166666666666652</c:v>
                </c:pt>
                <c:pt idx="1141">
                  <c:v>0.79236111111111107</c:v>
                </c:pt>
                <c:pt idx="1142">
                  <c:v>0.79305555555555562</c:v>
                </c:pt>
                <c:pt idx="1143">
                  <c:v>0.79375000000000062</c:v>
                </c:pt>
                <c:pt idx="1144">
                  <c:v>0.79444444444444462</c:v>
                </c:pt>
                <c:pt idx="1145">
                  <c:v>0.79513888888888884</c:v>
                </c:pt>
                <c:pt idx="1146">
                  <c:v>0.79583333333333361</c:v>
                </c:pt>
                <c:pt idx="1147">
                  <c:v>0.7965277777777775</c:v>
                </c:pt>
                <c:pt idx="1148">
                  <c:v>0.79722222222222217</c:v>
                </c:pt>
                <c:pt idx="1149">
                  <c:v>0.7979166666666665</c:v>
                </c:pt>
                <c:pt idx="1150">
                  <c:v>0.7986111111111116</c:v>
                </c:pt>
                <c:pt idx="1151">
                  <c:v>0.7993055555555556</c:v>
                </c:pt>
                <c:pt idx="1152">
                  <c:v>0.79999999999999993</c:v>
                </c:pt>
                <c:pt idx="1153">
                  <c:v>0.80069444444444526</c:v>
                </c:pt>
                <c:pt idx="1154">
                  <c:v>0.80138888888888893</c:v>
                </c:pt>
                <c:pt idx="1155">
                  <c:v>0.8020833333333337</c:v>
                </c:pt>
                <c:pt idx="1156">
                  <c:v>0.8027777777777777</c:v>
                </c:pt>
                <c:pt idx="1157">
                  <c:v>0.80347222222222159</c:v>
                </c:pt>
                <c:pt idx="1158">
                  <c:v>0.80416666666666659</c:v>
                </c:pt>
                <c:pt idx="1159">
                  <c:v>0.80486111111111114</c:v>
                </c:pt>
                <c:pt idx="1160">
                  <c:v>0.80555555555555569</c:v>
                </c:pt>
                <c:pt idx="1161">
                  <c:v>0.80625000000000002</c:v>
                </c:pt>
                <c:pt idx="1162">
                  <c:v>0.80694444444444535</c:v>
                </c:pt>
                <c:pt idx="1163">
                  <c:v>0.80763888888888979</c:v>
                </c:pt>
                <c:pt idx="1164">
                  <c:v>0.80833333333333324</c:v>
                </c:pt>
                <c:pt idx="1165">
                  <c:v>0.80902777777777779</c:v>
                </c:pt>
                <c:pt idx="1166">
                  <c:v>0.80972222222222223</c:v>
                </c:pt>
                <c:pt idx="1167">
                  <c:v>0.81041666666666656</c:v>
                </c:pt>
                <c:pt idx="1168">
                  <c:v>0.81111111111111101</c:v>
                </c:pt>
                <c:pt idx="1169">
                  <c:v>0.81180555555555645</c:v>
                </c:pt>
                <c:pt idx="1170">
                  <c:v>0.8125</c:v>
                </c:pt>
                <c:pt idx="1171">
                  <c:v>0.81319444444444522</c:v>
                </c:pt>
                <c:pt idx="1172">
                  <c:v>0.81388888888888977</c:v>
                </c:pt>
                <c:pt idx="1173">
                  <c:v>0.81458333333333333</c:v>
                </c:pt>
                <c:pt idx="1174">
                  <c:v>0.81527777777777777</c:v>
                </c:pt>
                <c:pt idx="1175">
                  <c:v>0.81597222222222221</c:v>
                </c:pt>
                <c:pt idx="1176">
                  <c:v>0.81666666666666676</c:v>
                </c:pt>
                <c:pt idx="1177">
                  <c:v>0.81736111111111109</c:v>
                </c:pt>
                <c:pt idx="1178">
                  <c:v>0.81805555555555565</c:v>
                </c:pt>
                <c:pt idx="1179">
                  <c:v>0.81875000000000064</c:v>
                </c:pt>
                <c:pt idx="1180">
                  <c:v>0.81944444444444464</c:v>
                </c:pt>
                <c:pt idx="1181">
                  <c:v>0.82013888888888964</c:v>
                </c:pt>
                <c:pt idx="1182">
                  <c:v>0.82083333333333364</c:v>
                </c:pt>
                <c:pt idx="1183">
                  <c:v>0.82152777777777752</c:v>
                </c:pt>
                <c:pt idx="1184">
                  <c:v>0.8222222222222223</c:v>
                </c:pt>
                <c:pt idx="1185">
                  <c:v>0.82291666666666652</c:v>
                </c:pt>
                <c:pt idx="1186">
                  <c:v>0.82361111111111163</c:v>
                </c:pt>
                <c:pt idx="1187">
                  <c:v>0.82430555555555562</c:v>
                </c:pt>
                <c:pt idx="1188">
                  <c:v>0.82500000000000062</c:v>
                </c:pt>
                <c:pt idx="1189">
                  <c:v>0.82569444444444551</c:v>
                </c:pt>
                <c:pt idx="1190">
                  <c:v>0.82638888888888884</c:v>
                </c:pt>
                <c:pt idx="1191">
                  <c:v>0.82708333333333361</c:v>
                </c:pt>
                <c:pt idx="1192">
                  <c:v>0.82777777777777783</c:v>
                </c:pt>
                <c:pt idx="1193">
                  <c:v>0.82847222222222217</c:v>
                </c:pt>
                <c:pt idx="1194">
                  <c:v>0.8291666666666665</c:v>
                </c:pt>
                <c:pt idx="1195">
                  <c:v>0.8298611111111116</c:v>
                </c:pt>
                <c:pt idx="1196">
                  <c:v>0.8305555555555556</c:v>
                </c:pt>
                <c:pt idx="1197">
                  <c:v>0.83124999999999993</c:v>
                </c:pt>
                <c:pt idx="1198">
                  <c:v>0.83194444444444526</c:v>
                </c:pt>
                <c:pt idx="1199">
                  <c:v>0.83263888888888993</c:v>
                </c:pt>
                <c:pt idx="1200">
                  <c:v>0.8333333333333337</c:v>
                </c:pt>
                <c:pt idx="1201">
                  <c:v>0.8340277777777777</c:v>
                </c:pt>
                <c:pt idx="1202">
                  <c:v>0.83472222222222225</c:v>
                </c:pt>
                <c:pt idx="1203">
                  <c:v>0.83541666666666659</c:v>
                </c:pt>
                <c:pt idx="1204">
                  <c:v>0.83611111111111114</c:v>
                </c:pt>
                <c:pt idx="1205">
                  <c:v>0.83680555555555636</c:v>
                </c:pt>
                <c:pt idx="1206">
                  <c:v>0.83750000000000002</c:v>
                </c:pt>
                <c:pt idx="1207">
                  <c:v>0.83819444444444535</c:v>
                </c:pt>
                <c:pt idx="1208">
                  <c:v>0.83888888888888979</c:v>
                </c:pt>
                <c:pt idx="1209">
                  <c:v>0.83958333333333324</c:v>
                </c:pt>
                <c:pt idx="1210">
                  <c:v>0.84027777777777779</c:v>
                </c:pt>
                <c:pt idx="1211">
                  <c:v>0.84097222222222223</c:v>
                </c:pt>
                <c:pt idx="1212">
                  <c:v>0.84166666666666667</c:v>
                </c:pt>
                <c:pt idx="1213">
                  <c:v>0.84236111111111101</c:v>
                </c:pt>
                <c:pt idx="1214">
                  <c:v>0.84305555555555645</c:v>
                </c:pt>
                <c:pt idx="1215">
                  <c:v>0.84375000000000089</c:v>
                </c:pt>
                <c:pt idx="1216">
                  <c:v>0.84444444444444522</c:v>
                </c:pt>
                <c:pt idx="1217">
                  <c:v>0.84513888888888977</c:v>
                </c:pt>
                <c:pt idx="1218">
                  <c:v>0.8458333333333341</c:v>
                </c:pt>
                <c:pt idx="1219">
                  <c:v>0.84652777777777777</c:v>
                </c:pt>
                <c:pt idx="1220">
                  <c:v>0.84722222222222221</c:v>
                </c:pt>
                <c:pt idx="1221">
                  <c:v>0.84791666666666676</c:v>
                </c:pt>
                <c:pt idx="1222">
                  <c:v>0.84861111111111165</c:v>
                </c:pt>
                <c:pt idx="1223">
                  <c:v>0.84930555555555565</c:v>
                </c:pt>
                <c:pt idx="1224">
                  <c:v>0.85000000000000064</c:v>
                </c:pt>
                <c:pt idx="1225">
                  <c:v>0.85069444444444586</c:v>
                </c:pt>
                <c:pt idx="1226">
                  <c:v>0.85138888888888964</c:v>
                </c:pt>
                <c:pt idx="1227">
                  <c:v>0.85208333333333364</c:v>
                </c:pt>
                <c:pt idx="1228">
                  <c:v>0.85277777777777775</c:v>
                </c:pt>
                <c:pt idx="1229">
                  <c:v>0.8534722222222223</c:v>
                </c:pt>
                <c:pt idx="1230">
                  <c:v>0.85416666666666652</c:v>
                </c:pt>
                <c:pt idx="1231">
                  <c:v>0.85486111111111163</c:v>
                </c:pt>
                <c:pt idx="1232">
                  <c:v>0.85555555555555562</c:v>
                </c:pt>
                <c:pt idx="1233">
                  <c:v>0.85625000000000062</c:v>
                </c:pt>
                <c:pt idx="1234">
                  <c:v>0.85694444444444551</c:v>
                </c:pt>
                <c:pt idx="1235">
                  <c:v>0.85763888888888995</c:v>
                </c:pt>
                <c:pt idx="1236">
                  <c:v>0.85833333333333361</c:v>
                </c:pt>
                <c:pt idx="1237">
                  <c:v>0.85902777777777783</c:v>
                </c:pt>
                <c:pt idx="1238">
                  <c:v>0.85972222222222261</c:v>
                </c:pt>
                <c:pt idx="1239">
                  <c:v>0.8604166666666665</c:v>
                </c:pt>
                <c:pt idx="1240">
                  <c:v>0.8611111111111116</c:v>
                </c:pt>
                <c:pt idx="1241">
                  <c:v>0.8618055555555566</c:v>
                </c:pt>
                <c:pt idx="1242">
                  <c:v>0.86249999999999993</c:v>
                </c:pt>
                <c:pt idx="1243">
                  <c:v>0.86319444444444526</c:v>
                </c:pt>
                <c:pt idx="1244">
                  <c:v>0.86388888888888993</c:v>
                </c:pt>
                <c:pt idx="1245">
                  <c:v>0.8645833333333337</c:v>
                </c:pt>
                <c:pt idx="1246">
                  <c:v>0.8652777777777777</c:v>
                </c:pt>
                <c:pt idx="1247">
                  <c:v>0.86597222222222225</c:v>
                </c:pt>
                <c:pt idx="1248">
                  <c:v>0.8666666666666667</c:v>
                </c:pt>
                <c:pt idx="1249">
                  <c:v>0.86736111111111114</c:v>
                </c:pt>
                <c:pt idx="1250">
                  <c:v>0.86805555555555636</c:v>
                </c:pt>
                <c:pt idx="1251">
                  <c:v>0.86875000000000102</c:v>
                </c:pt>
                <c:pt idx="1252">
                  <c:v>0.86944444444444535</c:v>
                </c:pt>
                <c:pt idx="1253">
                  <c:v>0.87013888888888979</c:v>
                </c:pt>
                <c:pt idx="1254">
                  <c:v>0.87083333333333413</c:v>
                </c:pt>
                <c:pt idx="1255">
                  <c:v>0.87152777777777779</c:v>
                </c:pt>
                <c:pt idx="1256">
                  <c:v>0.87222222222222223</c:v>
                </c:pt>
                <c:pt idx="1257">
                  <c:v>0.87291666666666667</c:v>
                </c:pt>
                <c:pt idx="1258">
                  <c:v>0.87361111111111189</c:v>
                </c:pt>
                <c:pt idx="1259">
                  <c:v>0.87430555555555645</c:v>
                </c:pt>
                <c:pt idx="1260">
                  <c:v>0.87500000000000089</c:v>
                </c:pt>
                <c:pt idx="1261">
                  <c:v>0.875694444444446</c:v>
                </c:pt>
                <c:pt idx="1262">
                  <c:v>0.87638888888888977</c:v>
                </c:pt>
                <c:pt idx="1263">
                  <c:v>0.8770833333333341</c:v>
                </c:pt>
                <c:pt idx="1264">
                  <c:v>0.87777777777777855</c:v>
                </c:pt>
                <c:pt idx="1265">
                  <c:v>0.87847222222222221</c:v>
                </c:pt>
                <c:pt idx="1266">
                  <c:v>0.87916666666666676</c:v>
                </c:pt>
                <c:pt idx="1267">
                  <c:v>0.87986111111111165</c:v>
                </c:pt>
                <c:pt idx="1268">
                  <c:v>0.88055555555555554</c:v>
                </c:pt>
                <c:pt idx="1269">
                  <c:v>0.88124999999999998</c:v>
                </c:pt>
                <c:pt idx="1270">
                  <c:v>0.88194444444444464</c:v>
                </c:pt>
                <c:pt idx="1271">
                  <c:v>0.88263888888888964</c:v>
                </c:pt>
                <c:pt idx="1272">
                  <c:v>0.8833333333333333</c:v>
                </c:pt>
                <c:pt idx="1273">
                  <c:v>0.88402777777777752</c:v>
                </c:pt>
                <c:pt idx="1274">
                  <c:v>0.8847222222222223</c:v>
                </c:pt>
                <c:pt idx="1275">
                  <c:v>0.88541666666666563</c:v>
                </c:pt>
                <c:pt idx="1276">
                  <c:v>0.88611111111111107</c:v>
                </c:pt>
                <c:pt idx="1277">
                  <c:v>0.88680555555555562</c:v>
                </c:pt>
                <c:pt idx="1278">
                  <c:v>0.88750000000000007</c:v>
                </c:pt>
                <c:pt idx="1279">
                  <c:v>0.88819444444444462</c:v>
                </c:pt>
                <c:pt idx="1280">
                  <c:v>0.88888888888888884</c:v>
                </c:pt>
                <c:pt idx="1281">
                  <c:v>0.88958333333333339</c:v>
                </c:pt>
                <c:pt idx="1282">
                  <c:v>0.8902777777777775</c:v>
                </c:pt>
                <c:pt idx="1283">
                  <c:v>0.89097222222222217</c:v>
                </c:pt>
                <c:pt idx="1284">
                  <c:v>0.8916666666666665</c:v>
                </c:pt>
                <c:pt idx="1285">
                  <c:v>0.89236111111111116</c:v>
                </c:pt>
                <c:pt idx="1286">
                  <c:v>0.8930555555555556</c:v>
                </c:pt>
                <c:pt idx="1287">
                  <c:v>0.89374999999999993</c:v>
                </c:pt>
                <c:pt idx="1288">
                  <c:v>0.8944444444444446</c:v>
                </c:pt>
                <c:pt idx="1289">
                  <c:v>0.89513888888888893</c:v>
                </c:pt>
                <c:pt idx="1290">
                  <c:v>0.8958333333333337</c:v>
                </c:pt>
                <c:pt idx="1291">
                  <c:v>0.89652777777777759</c:v>
                </c:pt>
                <c:pt idx="1292">
                  <c:v>0.89722222222222159</c:v>
                </c:pt>
                <c:pt idx="1293">
                  <c:v>0.89791666666666659</c:v>
                </c:pt>
                <c:pt idx="1294">
                  <c:v>0.89861111111111114</c:v>
                </c:pt>
                <c:pt idx="1295">
                  <c:v>0.89930555555555569</c:v>
                </c:pt>
                <c:pt idx="1296">
                  <c:v>0.9</c:v>
                </c:pt>
                <c:pt idx="1297">
                  <c:v>0.90069444444444535</c:v>
                </c:pt>
                <c:pt idx="1298">
                  <c:v>0.90138888888888891</c:v>
                </c:pt>
                <c:pt idx="1299">
                  <c:v>0.90208333333333324</c:v>
                </c:pt>
                <c:pt idx="1300">
                  <c:v>0.90277777777777779</c:v>
                </c:pt>
                <c:pt idx="1301">
                  <c:v>0.90347222222222157</c:v>
                </c:pt>
                <c:pt idx="1302">
                  <c:v>0.90416666666666656</c:v>
                </c:pt>
                <c:pt idx="1303">
                  <c:v>0.90486111111111101</c:v>
                </c:pt>
                <c:pt idx="1304">
                  <c:v>0.90555555555555567</c:v>
                </c:pt>
                <c:pt idx="1305">
                  <c:v>0.90625</c:v>
                </c:pt>
                <c:pt idx="1306">
                  <c:v>0.90694444444444522</c:v>
                </c:pt>
                <c:pt idx="1307">
                  <c:v>0.90763888888888977</c:v>
                </c:pt>
                <c:pt idx="1308">
                  <c:v>0.90833333333333333</c:v>
                </c:pt>
                <c:pt idx="1309">
                  <c:v>0.90902777777777777</c:v>
                </c:pt>
                <c:pt idx="1310">
                  <c:v>0.90972222222222221</c:v>
                </c:pt>
                <c:pt idx="1311">
                  <c:v>0.91041666666666587</c:v>
                </c:pt>
                <c:pt idx="1312">
                  <c:v>0.91111111111111109</c:v>
                </c:pt>
                <c:pt idx="1313">
                  <c:v>0.91180555555555565</c:v>
                </c:pt>
                <c:pt idx="1314">
                  <c:v>0.91249999999999998</c:v>
                </c:pt>
                <c:pt idx="1315">
                  <c:v>0.91319444444444464</c:v>
                </c:pt>
                <c:pt idx="1316">
                  <c:v>0.91388888888888964</c:v>
                </c:pt>
                <c:pt idx="1317">
                  <c:v>0.9145833333333333</c:v>
                </c:pt>
                <c:pt idx="1318">
                  <c:v>0.91527777777777752</c:v>
                </c:pt>
                <c:pt idx="1319">
                  <c:v>0.9159722222222223</c:v>
                </c:pt>
                <c:pt idx="1320">
                  <c:v>0.91666666666666652</c:v>
                </c:pt>
                <c:pt idx="1321">
                  <c:v>0.91736111111111107</c:v>
                </c:pt>
                <c:pt idx="1322">
                  <c:v>0.91805555555555562</c:v>
                </c:pt>
                <c:pt idx="1323">
                  <c:v>0.91875000000000062</c:v>
                </c:pt>
                <c:pt idx="1324">
                  <c:v>0.91944444444444462</c:v>
                </c:pt>
                <c:pt idx="1325">
                  <c:v>0.92013888888888884</c:v>
                </c:pt>
                <c:pt idx="1326">
                  <c:v>0.92083333333333361</c:v>
                </c:pt>
                <c:pt idx="1327">
                  <c:v>0.9215277777777775</c:v>
                </c:pt>
                <c:pt idx="1328">
                  <c:v>0.92222222222222217</c:v>
                </c:pt>
                <c:pt idx="1329">
                  <c:v>0.9229166666666665</c:v>
                </c:pt>
                <c:pt idx="1330">
                  <c:v>0.9236111111111116</c:v>
                </c:pt>
                <c:pt idx="1331">
                  <c:v>0.9243055555555556</c:v>
                </c:pt>
                <c:pt idx="1332">
                  <c:v>0.92499999999999993</c:v>
                </c:pt>
                <c:pt idx="1333">
                  <c:v>0.92569444444444526</c:v>
                </c:pt>
                <c:pt idx="1334">
                  <c:v>0.92638888888888893</c:v>
                </c:pt>
                <c:pt idx="1335">
                  <c:v>0.9270833333333337</c:v>
                </c:pt>
                <c:pt idx="1336">
                  <c:v>0.9277777777777777</c:v>
                </c:pt>
                <c:pt idx="1337">
                  <c:v>0.92847222222222159</c:v>
                </c:pt>
                <c:pt idx="1338">
                  <c:v>0.92916666666666659</c:v>
                </c:pt>
                <c:pt idx="1339">
                  <c:v>0.92986111111111114</c:v>
                </c:pt>
                <c:pt idx="1340">
                  <c:v>0.93055555555555569</c:v>
                </c:pt>
                <c:pt idx="1341">
                  <c:v>0.93125000000000002</c:v>
                </c:pt>
                <c:pt idx="1342">
                  <c:v>0.93194444444444535</c:v>
                </c:pt>
                <c:pt idx="1343">
                  <c:v>0.93263888888888979</c:v>
                </c:pt>
                <c:pt idx="1344">
                  <c:v>0.93333333333333324</c:v>
                </c:pt>
                <c:pt idx="1345">
                  <c:v>0.93402777777777779</c:v>
                </c:pt>
                <c:pt idx="1346">
                  <c:v>0.93472222222222223</c:v>
                </c:pt>
                <c:pt idx="1347">
                  <c:v>0.93541666666666656</c:v>
                </c:pt>
                <c:pt idx="1348">
                  <c:v>0.93611111111111101</c:v>
                </c:pt>
                <c:pt idx="1349">
                  <c:v>0.93680555555555645</c:v>
                </c:pt>
                <c:pt idx="1350">
                  <c:v>0.9375</c:v>
                </c:pt>
                <c:pt idx="1351">
                  <c:v>0.93819444444444522</c:v>
                </c:pt>
                <c:pt idx="1352">
                  <c:v>0.93888888888888977</c:v>
                </c:pt>
                <c:pt idx="1353">
                  <c:v>0.93958333333333333</c:v>
                </c:pt>
                <c:pt idx="1354">
                  <c:v>0.94027777777777777</c:v>
                </c:pt>
                <c:pt idx="1355">
                  <c:v>0.94097222222222221</c:v>
                </c:pt>
                <c:pt idx="1356">
                  <c:v>0.94166666666666676</c:v>
                </c:pt>
                <c:pt idx="1357">
                  <c:v>0.94236111111111109</c:v>
                </c:pt>
                <c:pt idx="1358">
                  <c:v>0.94305555555555565</c:v>
                </c:pt>
                <c:pt idx="1359">
                  <c:v>0.94375000000000064</c:v>
                </c:pt>
                <c:pt idx="1360">
                  <c:v>0.94444444444444464</c:v>
                </c:pt>
                <c:pt idx="1361">
                  <c:v>0.94513888888888964</c:v>
                </c:pt>
                <c:pt idx="1362">
                  <c:v>0.94583333333333364</c:v>
                </c:pt>
                <c:pt idx="1363">
                  <c:v>0.94652777777777752</c:v>
                </c:pt>
                <c:pt idx="1364">
                  <c:v>0.9472222222222223</c:v>
                </c:pt>
                <c:pt idx="1365">
                  <c:v>0.94791666666666652</c:v>
                </c:pt>
                <c:pt idx="1366">
                  <c:v>0.94861111111111163</c:v>
                </c:pt>
                <c:pt idx="1367">
                  <c:v>0.94930555555555562</c:v>
                </c:pt>
                <c:pt idx="1368">
                  <c:v>0.95000000000000062</c:v>
                </c:pt>
                <c:pt idx="1369">
                  <c:v>0.95069444444444551</c:v>
                </c:pt>
                <c:pt idx="1370">
                  <c:v>0.95138888888888884</c:v>
                </c:pt>
                <c:pt idx="1371">
                  <c:v>0.95208333333333361</c:v>
                </c:pt>
                <c:pt idx="1372">
                  <c:v>0.95277777777777783</c:v>
                </c:pt>
                <c:pt idx="1373">
                  <c:v>0.95347222222222217</c:v>
                </c:pt>
                <c:pt idx="1374">
                  <c:v>0.9541666666666665</c:v>
                </c:pt>
                <c:pt idx="1375">
                  <c:v>0.9548611111111116</c:v>
                </c:pt>
                <c:pt idx="1376">
                  <c:v>0.9555555555555556</c:v>
                </c:pt>
                <c:pt idx="1377">
                  <c:v>0.95624999999999993</c:v>
                </c:pt>
                <c:pt idx="1378">
                  <c:v>0.95694444444444526</c:v>
                </c:pt>
                <c:pt idx="1379">
                  <c:v>0.95763888888888993</c:v>
                </c:pt>
                <c:pt idx="1380">
                  <c:v>0.9583333333333337</c:v>
                </c:pt>
                <c:pt idx="1381">
                  <c:v>0.9590277777777777</c:v>
                </c:pt>
                <c:pt idx="1382">
                  <c:v>0.95972222222222225</c:v>
                </c:pt>
                <c:pt idx="1383">
                  <c:v>0.96041666666666659</c:v>
                </c:pt>
                <c:pt idx="1384">
                  <c:v>0.96111111111111114</c:v>
                </c:pt>
                <c:pt idx="1385">
                  <c:v>0.96180555555555636</c:v>
                </c:pt>
                <c:pt idx="1386">
                  <c:v>0.96250000000000002</c:v>
                </c:pt>
                <c:pt idx="1387">
                  <c:v>0.96319444444444535</c:v>
                </c:pt>
                <c:pt idx="1388">
                  <c:v>0.96388888888888979</c:v>
                </c:pt>
                <c:pt idx="1389">
                  <c:v>0.96458333333333324</c:v>
                </c:pt>
                <c:pt idx="1390">
                  <c:v>0.96527777777777779</c:v>
                </c:pt>
                <c:pt idx="1391">
                  <c:v>0.96597222222222223</c:v>
                </c:pt>
                <c:pt idx="1392">
                  <c:v>0.96666666666666667</c:v>
                </c:pt>
                <c:pt idx="1393">
                  <c:v>0.96736111111111101</c:v>
                </c:pt>
                <c:pt idx="1394">
                  <c:v>0.96805555555555645</c:v>
                </c:pt>
                <c:pt idx="1395">
                  <c:v>0.96875000000000089</c:v>
                </c:pt>
                <c:pt idx="1396">
                  <c:v>0.96944444444444522</c:v>
                </c:pt>
                <c:pt idx="1397">
                  <c:v>0.97013888888888977</c:v>
                </c:pt>
                <c:pt idx="1398">
                  <c:v>0.9708333333333341</c:v>
                </c:pt>
                <c:pt idx="1399">
                  <c:v>0.97152777777777777</c:v>
                </c:pt>
                <c:pt idx="1400">
                  <c:v>0.97222222222222221</c:v>
                </c:pt>
                <c:pt idx="1401">
                  <c:v>0.97291666666666676</c:v>
                </c:pt>
                <c:pt idx="1402">
                  <c:v>0.97361111111111165</c:v>
                </c:pt>
                <c:pt idx="1403">
                  <c:v>0.97430555555555565</c:v>
                </c:pt>
                <c:pt idx="1404">
                  <c:v>0.97500000000000064</c:v>
                </c:pt>
                <c:pt idx="1405">
                  <c:v>0.97569444444444586</c:v>
                </c:pt>
                <c:pt idx="1406">
                  <c:v>0.97638888888888964</c:v>
                </c:pt>
                <c:pt idx="1407">
                  <c:v>0.97708333333333364</c:v>
                </c:pt>
                <c:pt idx="1408">
                  <c:v>0.97777777777777775</c:v>
                </c:pt>
                <c:pt idx="1409">
                  <c:v>0.9784722222222223</c:v>
                </c:pt>
                <c:pt idx="1410">
                  <c:v>0.97916666666666652</c:v>
                </c:pt>
                <c:pt idx="1411">
                  <c:v>0.97986111111111163</c:v>
                </c:pt>
                <c:pt idx="1412">
                  <c:v>0.98055555555555551</c:v>
                </c:pt>
                <c:pt idx="1413">
                  <c:v>0.98125000000000007</c:v>
                </c:pt>
                <c:pt idx="1414">
                  <c:v>0.98194444444444462</c:v>
                </c:pt>
                <c:pt idx="1415">
                  <c:v>0.98263888888888884</c:v>
                </c:pt>
                <c:pt idx="1416">
                  <c:v>0.98333333333333339</c:v>
                </c:pt>
                <c:pt idx="1417">
                  <c:v>0.9840277777777775</c:v>
                </c:pt>
                <c:pt idx="1418">
                  <c:v>0.98472222222222217</c:v>
                </c:pt>
                <c:pt idx="1419">
                  <c:v>0.98541666666666539</c:v>
                </c:pt>
                <c:pt idx="1420">
                  <c:v>0.98611111111111116</c:v>
                </c:pt>
                <c:pt idx="1421">
                  <c:v>0.9868055555555556</c:v>
                </c:pt>
                <c:pt idx="1422">
                  <c:v>0.98749999999999949</c:v>
                </c:pt>
                <c:pt idx="1423">
                  <c:v>0.9881944444444446</c:v>
                </c:pt>
                <c:pt idx="1424">
                  <c:v>0.98888888888888893</c:v>
                </c:pt>
                <c:pt idx="1425">
                  <c:v>0.98958333333333337</c:v>
                </c:pt>
                <c:pt idx="1426">
                  <c:v>0.99027777777777759</c:v>
                </c:pt>
                <c:pt idx="1427">
                  <c:v>0.99097222222222159</c:v>
                </c:pt>
                <c:pt idx="1428">
                  <c:v>0.99166666666666659</c:v>
                </c:pt>
                <c:pt idx="1429">
                  <c:v>0.99236111111111058</c:v>
                </c:pt>
                <c:pt idx="1430">
                  <c:v>0.99305555555555569</c:v>
                </c:pt>
                <c:pt idx="1431">
                  <c:v>0.99375000000000002</c:v>
                </c:pt>
                <c:pt idx="1432">
                  <c:v>0.99444444444444469</c:v>
                </c:pt>
                <c:pt idx="1433">
                  <c:v>0.99513888888888891</c:v>
                </c:pt>
                <c:pt idx="1434">
                  <c:v>0.99583333333333324</c:v>
                </c:pt>
                <c:pt idx="1435">
                  <c:v>0.99652777777777757</c:v>
                </c:pt>
                <c:pt idx="1436">
                  <c:v>0.99722222222222157</c:v>
                </c:pt>
                <c:pt idx="1437">
                  <c:v>0.99791666666666656</c:v>
                </c:pt>
                <c:pt idx="1438">
                  <c:v>0.99861111111111101</c:v>
                </c:pt>
                <c:pt idx="1439">
                  <c:v>0.99930555555555567</c:v>
                </c:pt>
              </c:numCache>
            </c:numRef>
          </c:cat>
          <c:val>
            <c:numRef>
              <c:f>Sheet1!$E$2:$E$1441</c:f>
              <c:numCache>
                <c:formatCode>_(* #,##0_);_(* \(#,##0\);_(* "-"??_);_(@_)</c:formatCode>
                <c:ptCount val="1440"/>
                <c:pt idx="0">
                  <c:v>10192</c:v>
                </c:pt>
                <c:pt idx="1">
                  <c:v>9769</c:v>
                </c:pt>
                <c:pt idx="2">
                  <c:v>10356</c:v>
                </c:pt>
                <c:pt idx="3">
                  <c:v>10369</c:v>
                </c:pt>
                <c:pt idx="4">
                  <c:v>10439</c:v>
                </c:pt>
                <c:pt idx="5">
                  <c:v>10991</c:v>
                </c:pt>
                <c:pt idx="6">
                  <c:v>11478</c:v>
                </c:pt>
                <c:pt idx="7">
                  <c:v>11839</c:v>
                </c:pt>
                <c:pt idx="8">
                  <c:v>11007</c:v>
                </c:pt>
                <c:pt idx="9">
                  <c:v>11563</c:v>
                </c:pt>
                <c:pt idx="10">
                  <c:v>11476</c:v>
                </c:pt>
                <c:pt idx="11">
                  <c:v>11175</c:v>
                </c:pt>
                <c:pt idx="12">
                  <c:v>11555</c:v>
                </c:pt>
                <c:pt idx="13">
                  <c:v>11897</c:v>
                </c:pt>
                <c:pt idx="14">
                  <c:v>11793</c:v>
                </c:pt>
                <c:pt idx="15">
                  <c:v>11773</c:v>
                </c:pt>
                <c:pt idx="16">
                  <c:v>11619</c:v>
                </c:pt>
                <c:pt idx="17">
                  <c:v>11917</c:v>
                </c:pt>
                <c:pt idx="18">
                  <c:v>12398</c:v>
                </c:pt>
                <c:pt idx="19">
                  <c:v>12892</c:v>
                </c:pt>
                <c:pt idx="20">
                  <c:v>12661</c:v>
                </c:pt>
                <c:pt idx="21">
                  <c:v>12528</c:v>
                </c:pt>
                <c:pt idx="22">
                  <c:v>12919</c:v>
                </c:pt>
                <c:pt idx="23">
                  <c:v>12032</c:v>
                </c:pt>
                <c:pt idx="24">
                  <c:v>12047</c:v>
                </c:pt>
                <c:pt idx="25">
                  <c:v>13037</c:v>
                </c:pt>
                <c:pt idx="26">
                  <c:v>13369</c:v>
                </c:pt>
                <c:pt idx="27">
                  <c:v>13188</c:v>
                </c:pt>
                <c:pt idx="28">
                  <c:v>13066</c:v>
                </c:pt>
                <c:pt idx="29">
                  <c:v>13949</c:v>
                </c:pt>
                <c:pt idx="30">
                  <c:v>13568</c:v>
                </c:pt>
                <c:pt idx="31">
                  <c:v>13309</c:v>
                </c:pt>
                <c:pt idx="32">
                  <c:v>13743</c:v>
                </c:pt>
                <c:pt idx="33">
                  <c:v>13674</c:v>
                </c:pt>
                <c:pt idx="34">
                  <c:v>14015</c:v>
                </c:pt>
                <c:pt idx="35">
                  <c:v>13714</c:v>
                </c:pt>
                <c:pt idx="36">
                  <c:v>14340</c:v>
                </c:pt>
                <c:pt idx="37">
                  <c:v>14251</c:v>
                </c:pt>
                <c:pt idx="38">
                  <c:v>13935</c:v>
                </c:pt>
                <c:pt idx="39">
                  <c:v>13880</c:v>
                </c:pt>
                <c:pt idx="40">
                  <c:v>14720</c:v>
                </c:pt>
                <c:pt idx="41">
                  <c:v>14364</c:v>
                </c:pt>
                <c:pt idx="42">
                  <c:v>14705</c:v>
                </c:pt>
                <c:pt idx="43">
                  <c:v>14795</c:v>
                </c:pt>
                <c:pt idx="44">
                  <c:v>15277</c:v>
                </c:pt>
                <c:pt idx="45">
                  <c:v>16123</c:v>
                </c:pt>
                <c:pt idx="46">
                  <c:v>16070</c:v>
                </c:pt>
                <c:pt idx="47">
                  <c:v>15863</c:v>
                </c:pt>
                <c:pt idx="48">
                  <c:v>15796</c:v>
                </c:pt>
                <c:pt idx="49">
                  <c:v>16140</c:v>
                </c:pt>
                <c:pt idx="50">
                  <c:v>15756</c:v>
                </c:pt>
                <c:pt idx="51">
                  <c:v>16217</c:v>
                </c:pt>
                <c:pt idx="52">
                  <c:v>16066</c:v>
                </c:pt>
                <c:pt idx="53">
                  <c:v>16282</c:v>
                </c:pt>
                <c:pt idx="54">
                  <c:v>16471</c:v>
                </c:pt>
                <c:pt idx="55">
                  <c:v>17132</c:v>
                </c:pt>
                <c:pt idx="56">
                  <c:v>17319</c:v>
                </c:pt>
                <c:pt idx="57">
                  <c:v>17141</c:v>
                </c:pt>
                <c:pt idx="58">
                  <c:v>16831</c:v>
                </c:pt>
                <c:pt idx="59">
                  <c:v>17134</c:v>
                </c:pt>
                <c:pt idx="60">
                  <c:v>17761</c:v>
                </c:pt>
                <c:pt idx="61">
                  <c:v>17728</c:v>
                </c:pt>
                <c:pt idx="62">
                  <c:v>17907</c:v>
                </c:pt>
                <c:pt idx="63">
                  <c:v>18241</c:v>
                </c:pt>
                <c:pt idx="64">
                  <c:v>18177</c:v>
                </c:pt>
                <c:pt idx="65">
                  <c:v>18848</c:v>
                </c:pt>
                <c:pt idx="66">
                  <c:v>19187</c:v>
                </c:pt>
                <c:pt idx="67">
                  <c:v>19262</c:v>
                </c:pt>
                <c:pt idx="68">
                  <c:v>18786</c:v>
                </c:pt>
                <c:pt idx="69">
                  <c:v>19608</c:v>
                </c:pt>
                <c:pt idx="70">
                  <c:v>19301</c:v>
                </c:pt>
                <c:pt idx="71">
                  <c:v>18681</c:v>
                </c:pt>
                <c:pt idx="72">
                  <c:v>20443</c:v>
                </c:pt>
                <c:pt idx="73">
                  <c:v>20487</c:v>
                </c:pt>
                <c:pt idx="74">
                  <c:v>20268</c:v>
                </c:pt>
                <c:pt idx="75">
                  <c:v>21003</c:v>
                </c:pt>
                <c:pt idx="76">
                  <c:v>20667</c:v>
                </c:pt>
                <c:pt idx="77">
                  <c:v>21024</c:v>
                </c:pt>
                <c:pt idx="78">
                  <c:v>21229</c:v>
                </c:pt>
                <c:pt idx="79">
                  <c:v>22023</c:v>
                </c:pt>
                <c:pt idx="80">
                  <c:v>21821</c:v>
                </c:pt>
                <c:pt idx="81">
                  <c:v>21393</c:v>
                </c:pt>
                <c:pt idx="82">
                  <c:v>22099</c:v>
                </c:pt>
                <c:pt idx="83">
                  <c:v>22144</c:v>
                </c:pt>
                <c:pt idx="84">
                  <c:v>22479</c:v>
                </c:pt>
                <c:pt idx="85">
                  <c:v>22522</c:v>
                </c:pt>
                <c:pt idx="86">
                  <c:v>22630</c:v>
                </c:pt>
                <c:pt idx="87">
                  <c:v>22518</c:v>
                </c:pt>
                <c:pt idx="88">
                  <c:v>23210</c:v>
                </c:pt>
                <c:pt idx="89">
                  <c:v>22725</c:v>
                </c:pt>
                <c:pt idx="90">
                  <c:v>21776</c:v>
                </c:pt>
                <c:pt idx="91">
                  <c:v>22791</c:v>
                </c:pt>
                <c:pt idx="92">
                  <c:v>23706</c:v>
                </c:pt>
                <c:pt idx="93">
                  <c:v>23656</c:v>
                </c:pt>
                <c:pt idx="94">
                  <c:v>24009</c:v>
                </c:pt>
                <c:pt idx="95">
                  <c:v>23725</c:v>
                </c:pt>
                <c:pt idx="96">
                  <c:v>23125</c:v>
                </c:pt>
                <c:pt idx="97">
                  <c:v>24264</c:v>
                </c:pt>
                <c:pt idx="98">
                  <c:v>23900</c:v>
                </c:pt>
                <c:pt idx="99">
                  <c:v>24590</c:v>
                </c:pt>
                <c:pt idx="100">
                  <c:v>24058</c:v>
                </c:pt>
                <c:pt idx="101">
                  <c:v>24209</c:v>
                </c:pt>
                <c:pt idx="102">
                  <c:v>23745</c:v>
                </c:pt>
                <c:pt idx="103">
                  <c:v>24704</c:v>
                </c:pt>
                <c:pt idx="104">
                  <c:v>24774</c:v>
                </c:pt>
                <c:pt idx="105">
                  <c:v>23945</c:v>
                </c:pt>
                <c:pt idx="106">
                  <c:v>24278</c:v>
                </c:pt>
                <c:pt idx="107">
                  <c:v>24619</c:v>
                </c:pt>
                <c:pt idx="108">
                  <c:v>24662</c:v>
                </c:pt>
                <c:pt idx="109">
                  <c:v>24615</c:v>
                </c:pt>
                <c:pt idx="110">
                  <c:v>25981</c:v>
                </c:pt>
                <c:pt idx="111">
                  <c:v>25158</c:v>
                </c:pt>
                <c:pt idx="112">
                  <c:v>25192</c:v>
                </c:pt>
                <c:pt idx="113">
                  <c:v>23822</c:v>
                </c:pt>
                <c:pt idx="114">
                  <c:v>24096</c:v>
                </c:pt>
                <c:pt idx="115">
                  <c:v>25921</c:v>
                </c:pt>
                <c:pt idx="116">
                  <c:v>25456</c:v>
                </c:pt>
                <c:pt idx="117">
                  <c:v>24833</c:v>
                </c:pt>
                <c:pt idx="118">
                  <c:v>25019</c:v>
                </c:pt>
                <c:pt idx="119">
                  <c:v>25573</c:v>
                </c:pt>
                <c:pt idx="120">
                  <c:v>24186</c:v>
                </c:pt>
                <c:pt idx="121">
                  <c:v>24701</c:v>
                </c:pt>
                <c:pt idx="122">
                  <c:v>24646</c:v>
                </c:pt>
                <c:pt idx="123">
                  <c:v>25091</c:v>
                </c:pt>
                <c:pt idx="124">
                  <c:v>25312</c:v>
                </c:pt>
                <c:pt idx="125">
                  <c:v>25254</c:v>
                </c:pt>
                <c:pt idx="126">
                  <c:v>25387</c:v>
                </c:pt>
                <c:pt idx="127">
                  <c:v>25849</c:v>
                </c:pt>
                <c:pt idx="128">
                  <c:v>26040</c:v>
                </c:pt>
                <c:pt idx="129">
                  <c:v>25975</c:v>
                </c:pt>
                <c:pt idx="130">
                  <c:v>26223</c:v>
                </c:pt>
                <c:pt idx="131">
                  <c:v>26499</c:v>
                </c:pt>
                <c:pt idx="132">
                  <c:v>25787</c:v>
                </c:pt>
                <c:pt idx="133">
                  <c:v>25377</c:v>
                </c:pt>
                <c:pt idx="134">
                  <c:v>25688</c:v>
                </c:pt>
                <c:pt idx="135">
                  <c:v>25987</c:v>
                </c:pt>
                <c:pt idx="136">
                  <c:v>26311</c:v>
                </c:pt>
                <c:pt idx="137">
                  <c:v>27200</c:v>
                </c:pt>
                <c:pt idx="138">
                  <c:v>26275</c:v>
                </c:pt>
                <c:pt idx="139">
                  <c:v>26865</c:v>
                </c:pt>
                <c:pt idx="140">
                  <c:v>26964</c:v>
                </c:pt>
                <c:pt idx="141">
                  <c:v>25992</c:v>
                </c:pt>
                <c:pt idx="142">
                  <c:v>26504</c:v>
                </c:pt>
                <c:pt idx="143">
                  <c:v>25953</c:v>
                </c:pt>
                <c:pt idx="144">
                  <c:v>27238</c:v>
                </c:pt>
                <c:pt idx="145">
                  <c:v>26635</c:v>
                </c:pt>
                <c:pt idx="146">
                  <c:v>25699</c:v>
                </c:pt>
                <c:pt idx="147">
                  <c:v>26616</c:v>
                </c:pt>
                <c:pt idx="148">
                  <c:v>25716</c:v>
                </c:pt>
                <c:pt idx="149">
                  <c:v>26869</c:v>
                </c:pt>
                <c:pt idx="150">
                  <c:v>26465</c:v>
                </c:pt>
                <c:pt idx="151">
                  <c:v>26018</c:v>
                </c:pt>
                <c:pt idx="152">
                  <c:v>27093</c:v>
                </c:pt>
                <c:pt idx="153">
                  <c:v>26080</c:v>
                </c:pt>
                <c:pt idx="154">
                  <c:v>26446</c:v>
                </c:pt>
                <c:pt idx="155">
                  <c:v>26185</c:v>
                </c:pt>
                <c:pt idx="156">
                  <c:v>25970</c:v>
                </c:pt>
                <c:pt idx="157">
                  <c:v>26358</c:v>
                </c:pt>
                <c:pt idx="158">
                  <c:v>26327</c:v>
                </c:pt>
                <c:pt idx="159">
                  <c:v>26163</c:v>
                </c:pt>
                <c:pt idx="160">
                  <c:v>25618</c:v>
                </c:pt>
                <c:pt idx="161">
                  <c:v>26744</c:v>
                </c:pt>
                <c:pt idx="162">
                  <c:v>27778</c:v>
                </c:pt>
                <c:pt idx="163">
                  <c:v>26676</c:v>
                </c:pt>
                <c:pt idx="164">
                  <c:v>26384</c:v>
                </c:pt>
                <c:pt idx="165">
                  <c:v>26641</c:v>
                </c:pt>
                <c:pt idx="166">
                  <c:v>25941</c:v>
                </c:pt>
                <c:pt idx="167">
                  <c:v>25836</c:v>
                </c:pt>
                <c:pt idx="168">
                  <c:v>26309</c:v>
                </c:pt>
                <c:pt idx="169">
                  <c:v>26540</c:v>
                </c:pt>
                <c:pt idx="170">
                  <c:v>25663</c:v>
                </c:pt>
                <c:pt idx="171">
                  <c:v>25635</c:v>
                </c:pt>
                <c:pt idx="172">
                  <c:v>26771</c:v>
                </c:pt>
                <c:pt idx="173">
                  <c:v>26061</c:v>
                </c:pt>
                <c:pt idx="174">
                  <c:v>25592</c:v>
                </c:pt>
                <c:pt idx="175">
                  <c:v>25053</c:v>
                </c:pt>
                <c:pt idx="176">
                  <c:v>25406</c:v>
                </c:pt>
                <c:pt idx="177">
                  <c:v>26117</c:v>
                </c:pt>
                <c:pt idx="178">
                  <c:v>25618</c:v>
                </c:pt>
                <c:pt idx="179">
                  <c:v>26075</c:v>
                </c:pt>
                <c:pt idx="180">
                  <c:v>25646</c:v>
                </c:pt>
                <c:pt idx="181">
                  <c:v>26288</c:v>
                </c:pt>
                <c:pt idx="182">
                  <c:v>25414</c:v>
                </c:pt>
                <c:pt idx="183">
                  <c:v>25560</c:v>
                </c:pt>
                <c:pt idx="184">
                  <c:v>25786</c:v>
                </c:pt>
                <c:pt idx="185">
                  <c:v>26014</c:v>
                </c:pt>
                <c:pt idx="186">
                  <c:v>25885</c:v>
                </c:pt>
                <c:pt idx="187">
                  <c:v>25909</c:v>
                </c:pt>
                <c:pt idx="188">
                  <c:v>26699</c:v>
                </c:pt>
                <c:pt idx="189">
                  <c:v>25530</c:v>
                </c:pt>
                <c:pt idx="190">
                  <c:v>25571</c:v>
                </c:pt>
                <c:pt idx="191">
                  <c:v>25664</c:v>
                </c:pt>
                <c:pt idx="192">
                  <c:v>26071</c:v>
                </c:pt>
                <c:pt idx="193">
                  <c:v>26983</c:v>
                </c:pt>
                <c:pt idx="194">
                  <c:v>26272</c:v>
                </c:pt>
                <c:pt idx="195">
                  <c:v>26144</c:v>
                </c:pt>
                <c:pt idx="196">
                  <c:v>27891</c:v>
                </c:pt>
                <c:pt idx="197">
                  <c:v>27340</c:v>
                </c:pt>
                <c:pt idx="198">
                  <c:v>26530</c:v>
                </c:pt>
                <c:pt idx="199">
                  <c:v>26740</c:v>
                </c:pt>
                <c:pt idx="200">
                  <c:v>26453</c:v>
                </c:pt>
                <c:pt idx="201">
                  <c:v>27196</c:v>
                </c:pt>
                <c:pt idx="202">
                  <c:v>27358</c:v>
                </c:pt>
                <c:pt idx="203">
                  <c:v>27991</c:v>
                </c:pt>
                <c:pt idx="204">
                  <c:v>27544</c:v>
                </c:pt>
                <c:pt idx="205">
                  <c:v>28046</c:v>
                </c:pt>
                <c:pt idx="206">
                  <c:v>27844</c:v>
                </c:pt>
                <c:pt idx="207">
                  <c:v>27142</c:v>
                </c:pt>
                <c:pt idx="208">
                  <c:v>27949</c:v>
                </c:pt>
                <c:pt idx="209">
                  <c:v>28240</c:v>
                </c:pt>
                <c:pt idx="210">
                  <c:v>28665</c:v>
                </c:pt>
                <c:pt idx="211">
                  <c:v>28361</c:v>
                </c:pt>
                <c:pt idx="212">
                  <c:v>29251</c:v>
                </c:pt>
                <c:pt idx="213">
                  <c:v>27349</c:v>
                </c:pt>
                <c:pt idx="214">
                  <c:v>28316</c:v>
                </c:pt>
                <c:pt idx="215">
                  <c:v>26913</c:v>
                </c:pt>
                <c:pt idx="216">
                  <c:v>28177</c:v>
                </c:pt>
                <c:pt idx="217">
                  <c:v>27054</c:v>
                </c:pt>
                <c:pt idx="218">
                  <c:v>28862</c:v>
                </c:pt>
                <c:pt idx="219">
                  <c:v>29783</c:v>
                </c:pt>
                <c:pt idx="220">
                  <c:v>29943</c:v>
                </c:pt>
                <c:pt idx="221">
                  <c:v>29064</c:v>
                </c:pt>
                <c:pt idx="222">
                  <c:v>28295</c:v>
                </c:pt>
                <c:pt idx="223">
                  <c:v>28374</c:v>
                </c:pt>
                <c:pt idx="224">
                  <c:v>29360</c:v>
                </c:pt>
                <c:pt idx="225">
                  <c:v>29172</c:v>
                </c:pt>
                <c:pt idx="226">
                  <c:v>27969</c:v>
                </c:pt>
                <c:pt idx="227">
                  <c:v>28525</c:v>
                </c:pt>
                <c:pt idx="228">
                  <c:v>28490</c:v>
                </c:pt>
                <c:pt idx="229">
                  <c:v>28909</c:v>
                </c:pt>
                <c:pt idx="230">
                  <c:v>28197</c:v>
                </c:pt>
                <c:pt idx="231">
                  <c:v>28327</c:v>
                </c:pt>
                <c:pt idx="232">
                  <c:v>28674</c:v>
                </c:pt>
                <c:pt idx="233">
                  <c:v>27355</c:v>
                </c:pt>
                <c:pt idx="234">
                  <c:v>28268</c:v>
                </c:pt>
                <c:pt idx="235">
                  <c:v>28760</c:v>
                </c:pt>
                <c:pt idx="236">
                  <c:v>29963</c:v>
                </c:pt>
                <c:pt idx="237">
                  <c:v>28794</c:v>
                </c:pt>
                <c:pt idx="238">
                  <c:v>28252</c:v>
                </c:pt>
                <c:pt idx="239">
                  <c:v>27959</c:v>
                </c:pt>
                <c:pt idx="240">
                  <c:v>27639</c:v>
                </c:pt>
                <c:pt idx="241">
                  <c:v>27580</c:v>
                </c:pt>
                <c:pt idx="242">
                  <c:v>27980</c:v>
                </c:pt>
                <c:pt idx="243">
                  <c:v>28344</c:v>
                </c:pt>
                <c:pt idx="244">
                  <c:v>28039</c:v>
                </c:pt>
                <c:pt idx="245">
                  <c:v>27166</c:v>
                </c:pt>
                <c:pt idx="246">
                  <c:v>27011</c:v>
                </c:pt>
                <c:pt idx="247">
                  <c:v>27430</c:v>
                </c:pt>
                <c:pt idx="248">
                  <c:v>27637</c:v>
                </c:pt>
                <c:pt idx="249">
                  <c:v>28196</c:v>
                </c:pt>
                <c:pt idx="250">
                  <c:v>27835</c:v>
                </c:pt>
                <c:pt idx="251">
                  <c:v>27631</c:v>
                </c:pt>
                <c:pt idx="252">
                  <c:v>27381</c:v>
                </c:pt>
                <c:pt idx="253">
                  <c:v>27686</c:v>
                </c:pt>
                <c:pt idx="254">
                  <c:v>28286</c:v>
                </c:pt>
                <c:pt idx="255">
                  <c:v>28782</c:v>
                </c:pt>
                <c:pt idx="256">
                  <c:v>27826</c:v>
                </c:pt>
                <c:pt idx="257">
                  <c:v>28461</c:v>
                </c:pt>
                <c:pt idx="258">
                  <c:v>27376</c:v>
                </c:pt>
                <c:pt idx="259">
                  <c:v>27301</c:v>
                </c:pt>
                <c:pt idx="260">
                  <c:v>27769</c:v>
                </c:pt>
                <c:pt idx="261">
                  <c:v>28159</c:v>
                </c:pt>
                <c:pt idx="262">
                  <c:v>28319</c:v>
                </c:pt>
                <c:pt idx="263">
                  <c:v>28519</c:v>
                </c:pt>
                <c:pt idx="264">
                  <c:v>27418</c:v>
                </c:pt>
                <c:pt idx="265">
                  <c:v>28316</c:v>
                </c:pt>
                <c:pt idx="266">
                  <c:v>28097</c:v>
                </c:pt>
                <c:pt idx="267">
                  <c:v>27745</c:v>
                </c:pt>
                <c:pt idx="268">
                  <c:v>27796</c:v>
                </c:pt>
                <c:pt idx="269">
                  <c:v>28397</c:v>
                </c:pt>
                <c:pt idx="270">
                  <c:v>28426</c:v>
                </c:pt>
                <c:pt idx="271">
                  <c:v>27246</c:v>
                </c:pt>
                <c:pt idx="272">
                  <c:v>26818</c:v>
                </c:pt>
                <c:pt idx="273">
                  <c:v>26999</c:v>
                </c:pt>
                <c:pt idx="274">
                  <c:v>27756</c:v>
                </c:pt>
                <c:pt idx="275">
                  <c:v>28122</c:v>
                </c:pt>
                <c:pt idx="276">
                  <c:v>27462</c:v>
                </c:pt>
                <c:pt idx="277">
                  <c:v>27926</c:v>
                </c:pt>
                <c:pt idx="278">
                  <c:v>27851</c:v>
                </c:pt>
                <c:pt idx="279">
                  <c:v>27717</c:v>
                </c:pt>
                <c:pt idx="280">
                  <c:v>27903</c:v>
                </c:pt>
                <c:pt idx="281">
                  <c:v>28701</c:v>
                </c:pt>
                <c:pt idx="282">
                  <c:v>28658</c:v>
                </c:pt>
                <c:pt idx="283">
                  <c:v>28210</c:v>
                </c:pt>
                <c:pt idx="284">
                  <c:v>29277</c:v>
                </c:pt>
                <c:pt idx="285">
                  <c:v>28834</c:v>
                </c:pt>
                <c:pt idx="286">
                  <c:v>27918</c:v>
                </c:pt>
                <c:pt idx="287">
                  <c:v>28823</c:v>
                </c:pt>
                <c:pt idx="288">
                  <c:v>28366</c:v>
                </c:pt>
                <c:pt idx="289">
                  <c:v>29026</c:v>
                </c:pt>
                <c:pt idx="290">
                  <c:v>28536</c:v>
                </c:pt>
                <c:pt idx="291">
                  <c:v>29166</c:v>
                </c:pt>
                <c:pt idx="292">
                  <c:v>28679</c:v>
                </c:pt>
                <c:pt idx="293">
                  <c:v>28338</c:v>
                </c:pt>
                <c:pt idx="294">
                  <c:v>29427</c:v>
                </c:pt>
                <c:pt idx="295">
                  <c:v>29149</c:v>
                </c:pt>
                <c:pt idx="296">
                  <c:v>27760</c:v>
                </c:pt>
                <c:pt idx="297">
                  <c:v>28460</c:v>
                </c:pt>
                <c:pt idx="298">
                  <c:v>28040</c:v>
                </c:pt>
                <c:pt idx="299">
                  <c:v>28297</c:v>
                </c:pt>
                <c:pt idx="300">
                  <c:v>27775</c:v>
                </c:pt>
                <c:pt idx="301">
                  <c:v>27252</c:v>
                </c:pt>
                <c:pt idx="302">
                  <c:v>27594</c:v>
                </c:pt>
                <c:pt idx="303">
                  <c:v>27770</c:v>
                </c:pt>
                <c:pt idx="304">
                  <c:v>27076</c:v>
                </c:pt>
                <c:pt idx="305">
                  <c:v>27851</c:v>
                </c:pt>
                <c:pt idx="306">
                  <c:v>27856</c:v>
                </c:pt>
                <c:pt idx="307">
                  <c:v>27765</c:v>
                </c:pt>
                <c:pt idx="308">
                  <c:v>27611</c:v>
                </c:pt>
                <c:pt idx="309">
                  <c:v>27742</c:v>
                </c:pt>
                <c:pt idx="310">
                  <c:v>28229</c:v>
                </c:pt>
                <c:pt idx="311">
                  <c:v>28326</c:v>
                </c:pt>
                <c:pt idx="312">
                  <c:v>28559</c:v>
                </c:pt>
                <c:pt idx="313">
                  <c:v>28634</c:v>
                </c:pt>
                <c:pt idx="314">
                  <c:v>28585</c:v>
                </c:pt>
                <c:pt idx="315">
                  <c:v>27972</c:v>
                </c:pt>
                <c:pt idx="316">
                  <c:v>28268</c:v>
                </c:pt>
                <c:pt idx="317">
                  <c:v>28557</c:v>
                </c:pt>
                <c:pt idx="318">
                  <c:v>28541</c:v>
                </c:pt>
                <c:pt idx="319">
                  <c:v>27869</c:v>
                </c:pt>
                <c:pt idx="320">
                  <c:v>29481</c:v>
                </c:pt>
                <c:pt idx="321">
                  <c:v>28482</c:v>
                </c:pt>
                <c:pt idx="322">
                  <c:v>28324</c:v>
                </c:pt>
                <c:pt idx="323">
                  <c:v>29382</c:v>
                </c:pt>
                <c:pt idx="324">
                  <c:v>29516</c:v>
                </c:pt>
                <c:pt idx="325">
                  <c:v>29200</c:v>
                </c:pt>
                <c:pt idx="326">
                  <c:v>28953</c:v>
                </c:pt>
                <c:pt idx="327">
                  <c:v>28494</c:v>
                </c:pt>
                <c:pt idx="328">
                  <c:v>29065</c:v>
                </c:pt>
                <c:pt idx="329">
                  <c:v>29471</c:v>
                </c:pt>
                <c:pt idx="330">
                  <c:v>28521</c:v>
                </c:pt>
                <c:pt idx="331">
                  <c:v>28792</c:v>
                </c:pt>
                <c:pt idx="332">
                  <c:v>29057</c:v>
                </c:pt>
                <c:pt idx="333">
                  <c:v>29555</c:v>
                </c:pt>
                <c:pt idx="334">
                  <c:v>29179</c:v>
                </c:pt>
                <c:pt idx="335">
                  <c:v>29288</c:v>
                </c:pt>
                <c:pt idx="336">
                  <c:v>28873</c:v>
                </c:pt>
                <c:pt idx="337">
                  <c:v>28619</c:v>
                </c:pt>
                <c:pt idx="338">
                  <c:v>29517</c:v>
                </c:pt>
                <c:pt idx="339">
                  <c:v>29924</c:v>
                </c:pt>
                <c:pt idx="340">
                  <c:v>29656</c:v>
                </c:pt>
                <c:pt idx="341">
                  <c:v>29480</c:v>
                </c:pt>
                <c:pt idx="342">
                  <c:v>28660</c:v>
                </c:pt>
                <c:pt idx="343">
                  <c:v>29378</c:v>
                </c:pt>
                <c:pt idx="344">
                  <c:v>29522</c:v>
                </c:pt>
                <c:pt idx="345">
                  <c:v>29116</c:v>
                </c:pt>
                <c:pt idx="346">
                  <c:v>29451</c:v>
                </c:pt>
                <c:pt idx="347">
                  <c:v>29947</c:v>
                </c:pt>
                <c:pt idx="348">
                  <c:v>29508</c:v>
                </c:pt>
                <c:pt idx="349">
                  <c:v>29319</c:v>
                </c:pt>
                <c:pt idx="350">
                  <c:v>29635</c:v>
                </c:pt>
                <c:pt idx="351">
                  <c:v>29225</c:v>
                </c:pt>
                <c:pt idx="352">
                  <c:v>29414</c:v>
                </c:pt>
                <c:pt idx="353">
                  <c:v>29586</c:v>
                </c:pt>
                <c:pt idx="354">
                  <c:v>29782</c:v>
                </c:pt>
                <c:pt idx="355">
                  <c:v>29142</c:v>
                </c:pt>
                <c:pt idx="356">
                  <c:v>28545</c:v>
                </c:pt>
                <c:pt idx="357">
                  <c:v>28702</c:v>
                </c:pt>
                <c:pt idx="358">
                  <c:v>28619</c:v>
                </c:pt>
                <c:pt idx="359">
                  <c:v>29459</c:v>
                </c:pt>
                <c:pt idx="360">
                  <c:v>28387</c:v>
                </c:pt>
                <c:pt idx="361">
                  <c:v>28683</c:v>
                </c:pt>
                <c:pt idx="362">
                  <c:v>29013</c:v>
                </c:pt>
                <c:pt idx="363">
                  <c:v>28582</c:v>
                </c:pt>
                <c:pt idx="364">
                  <c:v>28255</c:v>
                </c:pt>
                <c:pt idx="365">
                  <c:v>28654</c:v>
                </c:pt>
                <c:pt idx="366">
                  <c:v>28636</c:v>
                </c:pt>
                <c:pt idx="367">
                  <c:v>28240</c:v>
                </c:pt>
                <c:pt idx="368">
                  <c:v>27425</c:v>
                </c:pt>
                <c:pt idx="369">
                  <c:v>27973</c:v>
                </c:pt>
                <c:pt idx="370">
                  <c:v>29589</c:v>
                </c:pt>
                <c:pt idx="371">
                  <c:v>28655</c:v>
                </c:pt>
                <c:pt idx="372">
                  <c:v>28250</c:v>
                </c:pt>
                <c:pt idx="373">
                  <c:v>28290</c:v>
                </c:pt>
                <c:pt idx="374">
                  <c:v>29880</c:v>
                </c:pt>
                <c:pt idx="375">
                  <c:v>29145</c:v>
                </c:pt>
                <c:pt idx="376">
                  <c:v>27917</c:v>
                </c:pt>
                <c:pt idx="377">
                  <c:v>28745</c:v>
                </c:pt>
                <c:pt idx="378">
                  <c:v>29854</c:v>
                </c:pt>
                <c:pt idx="379">
                  <c:v>27832</c:v>
                </c:pt>
                <c:pt idx="380">
                  <c:v>28608</c:v>
                </c:pt>
                <c:pt idx="381">
                  <c:v>27889</c:v>
                </c:pt>
                <c:pt idx="382">
                  <c:v>29023</c:v>
                </c:pt>
                <c:pt idx="383">
                  <c:v>28839</c:v>
                </c:pt>
                <c:pt idx="384">
                  <c:v>28699</c:v>
                </c:pt>
                <c:pt idx="385">
                  <c:v>27959</c:v>
                </c:pt>
                <c:pt idx="386">
                  <c:v>28915</c:v>
                </c:pt>
                <c:pt idx="387">
                  <c:v>27724</c:v>
                </c:pt>
                <c:pt idx="388">
                  <c:v>29273</c:v>
                </c:pt>
                <c:pt idx="389">
                  <c:v>27692</c:v>
                </c:pt>
                <c:pt idx="390">
                  <c:v>28276</c:v>
                </c:pt>
                <c:pt idx="391">
                  <c:v>28182</c:v>
                </c:pt>
                <c:pt idx="392">
                  <c:v>28893</c:v>
                </c:pt>
                <c:pt idx="393">
                  <c:v>29199</c:v>
                </c:pt>
                <c:pt idx="394">
                  <c:v>27857</c:v>
                </c:pt>
                <c:pt idx="395">
                  <c:v>28681</c:v>
                </c:pt>
                <c:pt idx="396">
                  <c:v>29166</c:v>
                </c:pt>
                <c:pt idx="397">
                  <c:v>28402</c:v>
                </c:pt>
                <c:pt idx="398">
                  <c:v>28161</c:v>
                </c:pt>
                <c:pt idx="399">
                  <c:v>29007</c:v>
                </c:pt>
                <c:pt idx="400">
                  <c:v>28046</c:v>
                </c:pt>
                <c:pt idx="401">
                  <c:v>28300</c:v>
                </c:pt>
                <c:pt idx="402">
                  <c:v>28181</c:v>
                </c:pt>
                <c:pt idx="403">
                  <c:v>28260</c:v>
                </c:pt>
                <c:pt idx="404">
                  <c:v>29017</c:v>
                </c:pt>
                <c:pt idx="405">
                  <c:v>28685</c:v>
                </c:pt>
                <c:pt idx="406">
                  <c:v>28232</c:v>
                </c:pt>
                <c:pt idx="407">
                  <c:v>28627</c:v>
                </c:pt>
                <c:pt idx="408">
                  <c:v>29289</c:v>
                </c:pt>
                <c:pt idx="409">
                  <c:v>28654</c:v>
                </c:pt>
                <c:pt idx="410">
                  <c:v>28761</c:v>
                </c:pt>
                <c:pt idx="411">
                  <c:v>28838</c:v>
                </c:pt>
                <c:pt idx="412">
                  <c:v>28760</c:v>
                </c:pt>
                <c:pt idx="413">
                  <c:v>28619</c:v>
                </c:pt>
                <c:pt idx="414">
                  <c:v>28688</c:v>
                </c:pt>
                <c:pt idx="415">
                  <c:v>29519</c:v>
                </c:pt>
                <c:pt idx="416">
                  <c:v>28445</c:v>
                </c:pt>
                <c:pt idx="417">
                  <c:v>28543</c:v>
                </c:pt>
                <c:pt idx="418">
                  <c:v>27464</c:v>
                </c:pt>
                <c:pt idx="419">
                  <c:v>28371</c:v>
                </c:pt>
                <c:pt idx="420">
                  <c:v>26782</c:v>
                </c:pt>
                <c:pt idx="421">
                  <c:v>26979</c:v>
                </c:pt>
                <c:pt idx="422">
                  <c:v>27508</c:v>
                </c:pt>
                <c:pt idx="423">
                  <c:v>27079</c:v>
                </c:pt>
                <c:pt idx="424">
                  <c:v>27078</c:v>
                </c:pt>
                <c:pt idx="425">
                  <c:v>26511</c:v>
                </c:pt>
                <c:pt idx="426">
                  <c:v>26769</c:v>
                </c:pt>
                <c:pt idx="427">
                  <c:v>27157</c:v>
                </c:pt>
                <c:pt idx="428">
                  <c:v>26063</c:v>
                </c:pt>
                <c:pt idx="429">
                  <c:v>27773</c:v>
                </c:pt>
                <c:pt idx="430">
                  <c:v>27566</c:v>
                </c:pt>
                <c:pt idx="431">
                  <c:v>26760</c:v>
                </c:pt>
                <c:pt idx="432">
                  <c:v>26725</c:v>
                </c:pt>
                <c:pt idx="433">
                  <c:v>26940</c:v>
                </c:pt>
                <c:pt idx="434">
                  <c:v>25884</c:v>
                </c:pt>
                <c:pt idx="435">
                  <c:v>25158</c:v>
                </c:pt>
                <c:pt idx="436">
                  <c:v>26295</c:v>
                </c:pt>
                <c:pt idx="437">
                  <c:v>26144</c:v>
                </c:pt>
                <c:pt idx="438">
                  <c:v>25773</c:v>
                </c:pt>
                <c:pt idx="439">
                  <c:v>26242</c:v>
                </c:pt>
                <c:pt idx="440">
                  <c:v>27241</c:v>
                </c:pt>
                <c:pt idx="441">
                  <c:v>27132</c:v>
                </c:pt>
                <c:pt idx="442">
                  <c:v>25123</c:v>
                </c:pt>
                <c:pt idx="443">
                  <c:v>26205</c:v>
                </c:pt>
                <c:pt idx="444">
                  <c:v>26969</c:v>
                </c:pt>
                <c:pt idx="445">
                  <c:v>26205</c:v>
                </c:pt>
                <c:pt idx="446">
                  <c:v>26123</c:v>
                </c:pt>
                <c:pt idx="447">
                  <c:v>26668</c:v>
                </c:pt>
                <c:pt idx="448">
                  <c:v>25595</c:v>
                </c:pt>
                <c:pt idx="449">
                  <c:v>25472</c:v>
                </c:pt>
                <c:pt idx="450">
                  <c:v>26198</c:v>
                </c:pt>
                <c:pt idx="451">
                  <c:v>25387</c:v>
                </c:pt>
                <c:pt idx="452">
                  <c:v>25379</c:v>
                </c:pt>
                <c:pt idx="453">
                  <c:v>25172</c:v>
                </c:pt>
                <c:pt idx="454">
                  <c:v>25996</c:v>
                </c:pt>
                <c:pt idx="455">
                  <c:v>26569</c:v>
                </c:pt>
                <c:pt idx="456">
                  <c:v>26163</c:v>
                </c:pt>
                <c:pt idx="457">
                  <c:v>25877</c:v>
                </c:pt>
                <c:pt idx="458">
                  <c:v>27179</c:v>
                </c:pt>
                <c:pt idx="459">
                  <c:v>25930</c:v>
                </c:pt>
                <c:pt idx="460">
                  <c:v>26306</c:v>
                </c:pt>
                <c:pt idx="461">
                  <c:v>26438</c:v>
                </c:pt>
                <c:pt idx="462">
                  <c:v>25656</c:v>
                </c:pt>
                <c:pt idx="463">
                  <c:v>27204</c:v>
                </c:pt>
                <c:pt idx="464">
                  <c:v>26641</c:v>
                </c:pt>
                <c:pt idx="465">
                  <c:v>25536</c:v>
                </c:pt>
                <c:pt idx="466">
                  <c:v>26332</c:v>
                </c:pt>
                <c:pt idx="467">
                  <c:v>26135</c:v>
                </c:pt>
                <c:pt idx="468">
                  <c:v>26578</c:v>
                </c:pt>
                <c:pt idx="469">
                  <c:v>27083</c:v>
                </c:pt>
                <c:pt idx="470">
                  <c:v>26940</c:v>
                </c:pt>
                <c:pt idx="471">
                  <c:v>27133</c:v>
                </c:pt>
                <c:pt idx="472">
                  <c:v>27812</c:v>
                </c:pt>
                <c:pt idx="473">
                  <c:v>27115</c:v>
                </c:pt>
                <c:pt idx="474">
                  <c:v>26144</c:v>
                </c:pt>
                <c:pt idx="475">
                  <c:v>26667</c:v>
                </c:pt>
                <c:pt idx="476">
                  <c:v>26746</c:v>
                </c:pt>
                <c:pt idx="477">
                  <c:v>26514</c:v>
                </c:pt>
                <c:pt idx="478">
                  <c:v>26597</c:v>
                </c:pt>
                <c:pt idx="479">
                  <c:v>26834</c:v>
                </c:pt>
                <c:pt idx="480">
                  <c:v>26279</c:v>
                </c:pt>
                <c:pt idx="481">
                  <c:v>26311</c:v>
                </c:pt>
                <c:pt idx="482">
                  <c:v>25846</c:v>
                </c:pt>
                <c:pt idx="483">
                  <c:v>26774</c:v>
                </c:pt>
                <c:pt idx="484">
                  <c:v>26391</c:v>
                </c:pt>
                <c:pt idx="485">
                  <c:v>27090</c:v>
                </c:pt>
                <c:pt idx="486">
                  <c:v>26033</c:v>
                </c:pt>
                <c:pt idx="487">
                  <c:v>26525</c:v>
                </c:pt>
                <c:pt idx="488">
                  <c:v>25374</c:v>
                </c:pt>
                <c:pt idx="489">
                  <c:v>26294</c:v>
                </c:pt>
                <c:pt idx="490">
                  <c:v>26561</c:v>
                </c:pt>
                <c:pt idx="491">
                  <c:v>28022</c:v>
                </c:pt>
                <c:pt idx="492">
                  <c:v>27170</c:v>
                </c:pt>
                <c:pt idx="493">
                  <c:v>26708</c:v>
                </c:pt>
                <c:pt idx="494">
                  <c:v>27556</c:v>
                </c:pt>
                <c:pt idx="495">
                  <c:v>26604</c:v>
                </c:pt>
                <c:pt idx="496">
                  <c:v>26932</c:v>
                </c:pt>
                <c:pt idx="497">
                  <c:v>26793</c:v>
                </c:pt>
                <c:pt idx="498">
                  <c:v>25740</c:v>
                </c:pt>
                <c:pt idx="499">
                  <c:v>27217</c:v>
                </c:pt>
                <c:pt idx="500">
                  <c:v>27904</c:v>
                </c:pt>
                <c:pt idx="501">
                  <c:v>28019</c:v>
                </c:pt>
                <c:pt idx="502">
                  <c:v>28370</c:v>
                </c:pt>
                <c:pt idx="503">
                  <c:v>26989</c:v>
                </c:pt>
                <c:pt idx="504">
                  <c:v>26331</c:v>
                </c:pt>
                <c:pt idx="505">
                  <c:v>27027</c:v>
                </c:pt>
                <c:pt idx="506">
                  <c:v>27340</c:v>
                </c:pt>
                <c:pt idx="507">
                  <c:v>26896</c:v>
                </c:pt>
                <c:pt idx="508">
                  <c:v>26623</c:v>
                </c:pt>
                <c:pt idx="509">
                  <c:v>26988</c:v>
                </c:pt>
                <c:pt idx="510">
                  <c:v>26332</c:v>
                </c:pt>
                <c:pt idx="511">
                  <c:v>25936</c:v>
                </c:pt>
                <c:pt idx="512">
                  <c:v>26565</c:v>
                </c:pt>
                <c:pt idx="513">
                  <c:v>27084</c:v>
                </c:pt>
                <c:pt idx="514">
                  <c:v>26376</c:v>
                </c:pt>
                <c:pt idx="515">
                  <c:v>25961</c:v>
                </c:pt>
                <c:pt idx="516">
                  <c:v>26085</c:v>
                </c:pt>
                <c:pt idx="517">
                  <c:v>25973</c:v>
                </c:pt>
                <c:pt idx="518">
                  <c:v>26561</c:v>
                </c:pt>
                <c:pt idx="519">
                  <c:v>26400</c:v>
                </c:pt>
                <c:pt idx="520">
                  <c:v>26027</c:v>
                </c:pt>
                <c:pt idx="521">
                  <c:v>27466</c:v>
                </c:pt>
                <c:pt idx="522">
                  <c:v>26923</c:v>
                </c:pt>
                <c:pt idx="523">
                  <c:v>26264</c:v>
                </c:pt>
                <c:pt idx="524">
                  <c:v>25771</c:v>
                </c:pt>
                <c:pt idx="525">
                  <c:v>25876</c:v>
                </c:pt>
                <c:pt idx="526">
                  <c:v>26017</c:v>
                </c:pt>
                <c:pt idx="527">
                  <c:v>26444</c:v>
                </c:pt>
                <c:pt idx="528">
                  <c:v>25239</c:v>
                </c:pt>
                <c:pt idx="529">
                  <c:v>25516</c:v>
                </c:pt>
                <c:pt idx="530">
                  <c:v>25645</c:v>
                </c:pt>
                <c:pt idx="531">
                  <c:v>25926</c:v>
                </c:pt>
                <c:pt idx="532">
                  <c:v>25297</c:v>
                </c:pt>
                <c:pt idx="533">
                  <c:v>25960</c:v>
                </c:pt>
                <c:pt idx="534">
                  <c:v>25150</c:v>
                </c:pt>
                <c:pt idx="535">
                  <c:v>23955</c:v>
                </c:pt>
                <c:pt idx="536">
                  <c:v>24790</c:v>
                </c:pt>
                <c:pt idx="537">
                  <c:v>24833</c:v>
                </c:pt>
                <c:pt idx="538">
                  <c:v>24524</c:v>
                </c:pt>
                <c:pt idx="539">
                  <c:v>24580</c:v>
                </c:pt>
                <c:pt idx="540">
                  <c:v>24367</c:v>
                </c:pt>
                <c:pt idx="541">
                  <c:v>23646</c:v>
                </c:pt>
                <c:pt idx="542">
                  <c:v>24574</c:v>
                </c:pt>
                <c:pt idx="543">
                  <c:v>23518</c:v>
                </c:pt>
                <c:pt idx="544">
                  <c:v>23523</c:v>
                </c:pt>
                <c:pt idx="545">
                  <c:v>22987</c:v>
                </c:pt>
                <c:pt idx="546">
                  <c:v>22845</c:v>
                </c:pt>
                <c:pt idx="547">
                  <c:v>23383</c:v>
                </c:pt>
                <c:pt idx="548">
                  <c:v>23190</c:v>
                </c:pt>
                <c:pt idx="549">
                  <c:v>22291</c:v>
                </c:pt>
                <c:pt idx="550">
                  <c:v>22697</c:v>
                </c:pt>
                <c:pt idx="551">
                  <c:v>22871</c:v>
                </c:pt>
                <c:pt idx="552">
                  <c:v>23415</c:v>
                </c:pt>
                <c:pt idx="553">
                  <c:v>22670</c:v>
                </c:pt>
                <c:pt idx="554">
                  <c:v>22724</c:v>
                </c:pt>
                <c:pt idx="555">
                  <c:v>22568</c:v>
                </c:pt>
                <c:pt idx="556">
                  <c:v>23699</c:v>
                </c:pt>
                <c:pt idx="557">
                  <c:v>22811</c:v>
                </c:pt>
                <c:pt idx="558">
                  <c:v>22046</c:v>
                </c:pt>
                <c:pt idx="559">
                  <c:v>22372</c:v>
                </c:pt>
                <c:pt idx="560">
                  <c:v>22567</c:v>
                </c:pt>
                <c:pt idx="561">
                  <c:v>22027</c:v>
                </c:pt>
                <c:pt idx="562">
                  <c:v>22217</c:v>
                </c:pt>
                <c:pt idx="563">
                  <c:v>21942</c:v>
                </c:pt>
                <c:pt idx="564">
                  <c:v>22096</c:v>
                </c:pt>
                <c:pt idx="565">
                  <c:v>22357</c:v>
                </c:pt>
                <c:pt idx="566">
                  <c:v>22235</c:v>
                </c:pt>
                <c:pt idx="567">
                  <c:v>22572</c:v>
                </c:pt>
                <c:pt idx="568">
                  <c:v>21988</c:v>
                </c:pt>
                <c:pt idx="569">
                  <c:v>21811</c:v>
                </c:pt>
                <c:pt idx="570">
                  <c:v>21747</c:v>
                </c:pt>
                <c:pt idx="571">
                  <c:v>21435</c:v>
                </c:pt>
                <c:pt idx="572">
                  <c:v>21535</c:v>
                </c:pt>
                <c:pt idx="573">
                  <c:v>21007</c:v>
                </c:pt>
                <c:pt idx="574">
                  <c:v>20666</c:v>
                </c:pt>
                <c:pt idx="575">
                  <c:v>21797</c:v>
                </c:pt>
                <c:pt idx="576">
                  <c:v>21300</c:v>
                </c:pt>
                <c:pt idx="577">
                  <c:v>21549</c:v>
                </c:pt>
                <c:pt idx="578">
                  <c:v>21375</c:v>
                </c:pt>
                <c:pt idx="579">
                  <c:v>21044</c:v>
                </c:pt>
                <c:pt idx="580">
                  <c:v>20861</c:v>
                </c:pt>
                <c:pt idx="581">
                  <c:v>20932</c:v>
                </c:pt>
                <c:pt idx="582">
                  <c:v>20360</c:v>
                </c:pt>
                <c:pt idx="583">
                  <c:v>21204</c:v>
                </c:pt>
                <c:pt idx="584">
                  <c:v>20914</c:v>
                </c:pt>
                <c:pt idx="585">
                  <c:v>20660</c:v>
                </c:pt>
                <c:pt idx="586">
                  <c:v>20889</c:v>
                </c:pt>
                <c:pt idx="587">
                  <c:v>21162</c:v>
                </c:pt>
                <c:pt idx="588">
                  <c:v>21535</c:v>
                </c:pt>
                <c:pt idx="589">
                  <c:v>19780</c:v>
                </c:pt>
                <c:pt idx="590">
                  <c:v>20770</c:v>
                </c:pt>
                <c:pt idx="591">
                  <c:v>20271</c:v>
                </c:pt>
                <c:pt idx="592">
                  <c:v>20600</c:v>
                </c:pt>
                <c:pt idx="593">
                  <c:v>19593</c:v>
                </c:pt>
                <c:pt idx="594">
                  <c:v>20092</c:v>
                </c:pt>
                <c:pt idx="595">
                  <c:v>20466</c:v>
                </c:pt>
                <c:pt idx="596">
                  <c:v>19347</c:v>
                </c:pt>
                <c:pt idx="597">
                  <c:v>20579</c:v>
                </c:pt>
                <c:pt idx="598">
                  <c:v>20445</c:v>
                </c:pt>
                <c:pt idx="599">
                  <c:v>19739</c:v>
                </c:pt>
                <c:pt idx="600">
                  <c:v>19880</c:v>
                </c:pt>
                <c:pt idx="601">
                  <c:v>19526</c:v>
                </c:pt>
                <c:pt idx="602">
                  <c:v>20248</c:v>
                </c:pt>
                <c:pt idx="603">
                  <c:v>20260</c:v>
                </c:pt>
                <c:pt idx="604">
                  <c:v>20206</c:v>
                </c:pt>
                <c:pt idx="605">
                  <c:v>20170</c:v>
                </c:pt>
                <c:pt idx="606">
                  <c:v>20858</c:v>
                </c:pt>
                <c:pt idx="607">
                  <c:v>20668</c:v>
                </c:pt>
                <c:pt idx="608">
                  <c:v>20284</c:v>
                </c:pt>
                <c:pt idx="609">
                  <c:v>19987</c:v>
                </c:pt>
                <c:pt idx="610">
                  <c:v>20082</c:v>
                </c:pt>
                <c:pt idx="611">
                  <c:v>19911</c:v>
                </c:pt>
                <c:pt idx="612">
                  <c:v>19708</c:v>
                </c:pt>
                <c:pt idx="613">
                  <c:v>20685</c:v>
                </c:pt>
                <c:pt idx="614">
                  <c:v>20425</c:v>
                </c:pt>
                <c:pt idx="615">
                  <c:v>20320</c:v>
                </c:pt>
                <c:pt idx="616">
                  <c:v>20252</c:v>
                </c:pt>
                <c:pt idx="617">
                  <c:v>21040</c:v>
                </c:pt>
                <c:pt idx="618">
                  <c:v>19754</c:v>
                </c:pt>
                <c:pt idx="619">
                  <c:v>20852</c:v>
                </c:pt>
                <c:pt idx="620">
                  <c:v>20577</c:v>
                </c:pt>
                <c:pt idx="621">
                  <c:v>20539</c:v>
                </c:pt>
                <c:pt idx="622">
                  <c:v>19950</c:v>
                </c:pt>
                <c:pt idx="623">
                  <c:v>20293</c:v>
                </c:pt>
                <c:pt idx="624">
                  <c:v>19280</c:v>
                </c:pt>
                <c:pt idx="625">
                  <c:v>19703</c:v>
                </c:pt>
                <c:pt idx="626">
                  <c:v>20032</c:v>
                </c:pt>
                <c:pt idx="627">
                  <c:v>20453</c:v>
                </c:pt>
                <c:pt idx="628">
                  <c:v>20682</c:v>
                </c:pt>
                <c:pt idx="629">
                  <c:v>21013</c:v>
                </c:pt>
                <c:pt idx="630">
                  <c:v>20341</c:v>
                </c:pt>
                <c:pt idx="631">
                  <c:v>20197</c:v>
                </c:pt>
                <c:pt idx="632">
                  <c:v>20396</c:v>
                </c:pt>
                <c:pt idx="633">
                  <c:v>20702</c:v>
                </c:pt>
                <c:pt idx="634">
                  <c:v>21175</c:v>
                </c:pt>
                <c:pt idx="635">
                  <c:v>20782</c:v>
                </c:pt>
                <c:pt idx="636">
                  <c:v>20014</c:v>
                </c:pt>
                <c:pt idx="637">
                  <c:v>20569</c:v>
                </c:pt>
                <c:pt idx="638">
                  <c:v>20083</c:v>
                </c:pt>
                <c:pt idx="639">
                  <c:v>20282</c:v>
                </c:pt>
                <c:pt idx="640">
                  <c:v>20004</c:v>
                </c:pt>
                <c:pt idx="641">
                  <c:v>19874</c:v>
                </c:pt>
                <c:pt idx="642">
                  <c:v>20949</c:v>
                </c:pt>
                <c:pt idx="643">
                  <c:v>19489</c:v>
                </c:pt>
                <c:pt idx="644">
                  <c:v>19907</c:v>
                </c:pt>
                <c:pt idx="645">
                  <c:v>20025</c:v>
                </c:pt>
                <c:pt idx="646">
                  <c:v>20382</c:v>
                </c:pt>
                <c:pt idx="647">
                  <c:v>20435</c:v>
                </c:pt>
                <c:pt idx="648">
                  <c:v>19719</c:v>
                </c:pt>
                <c:pt idx="649">
                  <c:v>19905</c:v>
                </c:pt>
                <c:pt idx="650">
                  <c:v>19718</c:v>
                </c:pt>
                <c:pt idx="651">
                  <c:v>19139</c:v>
                </c:pt>
                <c:pt idx="652">
                  <c:v>19758</c:v>
                </c:pt>
                <c:pt idx="653">
                  <c:v>20020</c:v>
                </c:pt>
                <c:pt idx="654">
                  <c:v>19865</c:v>
                </c:pt>
                <c:pt idx="655">
                  <c:v>20654</c:v>
                </c:pt>
                <c:pt idx="656">
                  <c:v>21033</c:v>
                </c:pt>
                <c:pt idx="657">
                  <c:v>20130</c:v>
                </c:pt>
                <c:pt idx="658">
                  <c:v>20884</c:v>
                </c:pt>
                <c:pt idx="659">
                  <c:v>20702</c:v>
                </c:pt>
                <c:pt idx="660">
                  <c:v>19718</c:v>
                </c:pt>
                <c:pt idx="661">
                  <c:v>20715</c:v>
                </c:pt>
                <c:pt idx="662">
                  <c:v>20048</c:v>
                </c:pt>
                <c:pt idx="663">
                  <c:v>20020</c:v>
                </c:pt>
                <c:pt idx="664">
                  <c:v>20569</c:v>
                </c:pt>
                <c:pt idx="665">
                  <c:v>20303</c:v>
                </c:pt>
                <c:pt idx="666">
                  <c:v>20346</c:v>
                </c:pt>
                <c:pt idx="667">
                  <c:v>19943</c:v>
                </c:pt>
                <c:pt idx="668">
                  <c:v>20556</c:v>
                </c:pt>
                <c:pt idx="669">
                  <c:v>20226</c:v>
                </c:pt>
                <c:pt idx="670">
                  <c:v>20555</c:v>
                </c:pt>
                <c:pt idx="671">
                  <c:v>20373</c:v>
                </c:pt>
                <c:pt idx="672">
                  <c:v>20728</c:v>
                </c:pt>
                <c:pt idx="673">
                  <c:v>21365</c:v>
                </c:pt>
                <c:pt idx="674">
                  <c:v>20969</c:v>
                </c:pt>
                <c:pt idx="675">
                  <c:v>21055</c:v>
                </c:pt>
                <c:pt idx="676">
                  <c:v>20474</c:v>
                </c:pt>
                <c:pt idx="677">
                  <c:v>20147</c:v>
                </c:pt>
                <c:pt idx="678">
                  <c:v>20027</c:v>
                </c:pt>
                <c:pt idx="679">
                  <c:v>20245</c:v>
                </c:pt>
                <c:pt idx="680">
                  <c:v>20933</c:v>
                </c:pt>
                <c:pt idx="681">
                  <c:v>21320</c:v>
                </c:pt>
                <c:pt idx="682">
                  <c:v>20385</c:v>
                </c:pt>
                <c:pt idx="683">
                  <c:v>20778</c:v>
                </c:pt>
                <c:pt idx="684">
                  <c:v>20611</c:v>
                </c:pt>
                <c:pt idx="685">
                  <c:v>19911</c:v>
                </c:pt>
                <c:pt idx="686">
                  <c:v>19972</c:v>
                </c:pt>
                <c:pt idx="687">
                  <c:v>21456</c:v>
                </c:pt>
                <c:pt idx="688">
                  <c:v>21256</c:v>
                </c:pt>
                <c:pt idx="689">
                  <c:v>20697</c:v>
                </c:pt>
                <c:pt idx="690">
                  <c:v>21189</c:v>
                </c:pt>
                <c:pt idx="691">
                  <c:v>20562</c:v>
                </c:pt>
                <c:pt idx="692">
                  <c:v>20101</c:v>
                </c:pt>
                <c:pt idx="693">
                  <c:v>20363</c:v>
                </c:pt>
                <c:pt idx="694">
                  <c:v>19445</c:v>
                </c:pt>
                <c:pt idx="695">
                  <c:v>19993</c:v>
                </c:pt>
                <c:pt idx="696">
                  <c:v>20154</c:v>
                </c:pt>
                <c:pt idx="697">
                  <c:v>20149</c:v>
                </c:pt>
                <c:pt idx="698">
                  <c:v>20640</c:v>
                </c:pt>
                <c:pt idx="699">
                  <c:v>21029</c:v>
                </c:pt>
                <c:pt idx="700">
                  <c:v>20232</c:v>
                </c:pt>
                <c:pt idx="701">
                  <c:v>20408</c:v>
                </c:pt>
                <c:pt idx="702">
                  <c:v>21426</c:v>
                </c:pt>
                <c:pt idx="703">
                  <c:v>20356</c:v>
                </c:pt>
                <c:pt idx="704">
                  <c:v>20370</c:v>
                </c:pt>
                <c:pt idx="705">
                  <c:v>20130</c:v>
                </c:pt>
                <c:pt idx="706">
                  <c:v>19974</c:v>
                </c:pt>
                <c:pt idx="707">
                  <c:v>20596</c:v>
                </c:pt>
                <c:pt idx="708">
                  <c:v>20363</c:v>
                </c:pt>
                <c:pt idx="709">
                  <c:v>21460</c:v>
                </c:pt>
                <c:pt idx="710">
                  <c:v>21307</c:v>
                </c:pt>
                <c:pt idx="711">
                  <c:v>22011</c:v>
                </c:pt>
                <c:pt idx="712">
                  <c:v>22521</c:v>
                </c:pt>
                <c:pt idx="713">
                  <c:v>22557</c:v>
                </c:pt>
                <c:pt idx="714">
                  <c:v>21722</c:v>
                </c:pt>
                <c:pt idx="715">
                  <c:v>21772</c:v>
                </c:pt>
                <c:pt idx="716">
                  <c:v>21400</c:v>
                </c:pt>
                <c:pt idx="717">
                  <c:v>21836</c:v>
                </c:pt>
                <c:pt idx="718">
                  <c:v>21686</c:v>
                </c:pt>
                <c:pt idx="719">
                  <c:v>20733</c:v>
                </c:pt>
                <c:pt idx="720">
                  <c:v>21549</c:v>
                </c:pt>
                <c:pt idx="721">
                  <c:v>21447</c:v>
                </c:pt>
                <c:pt idx="722">
                  <c:v>22099</c:v>
                </c:pt>
                <c:pt idx="723">
                  <c:v>21974</c:v>
                </c:pt>
                <c:pt idx="724">
                  <c:v>21137</c:v>
                </c:pt>
                <c:pt idx="725">
                  <c:v>21170</c:v>
                </c:pt>
                <c:pt idx="726">
                  <c:v>20839</c:v>
                </c:pt>
                <c:pt idx="727">
                  <c:v>21965</c:v>
                </c:pt>
                <c:pt idx="728">
                  <c:v>22019</c:v>
                </c:pt>
                <c:pt idx="729">
                  <c:v>21013</c:v>
                </c:pt>
                <c:pt idx="730">
                  <c:v>21387</c:v>
                </c:pt>
                <c:pt idx="731">
                  <c:v>22099</c:v>
                </c:pt>
                <c:pt idx="732">
                  <c:v>22531</c:v>
                </c:pt>
                <c:pt idx="733">
                  <c:v>22254</c:v>
                </c:pt>
                <c:pt idx="734">
                  <c:v>22656</c:v>
                </c:pt>
                <c:pt idx="735">
                  <c:v>22893</c:v>
                </c:pt>
                <c:pt idx="736">
                  <c:v>23473</c:v>
                </c:pt>
                <c:pt idx="737">
                  <c:v>22269</c:v>
                </c:pt>
                <c:pt idx="738">
                  <c:v>21826</c:v>
                </c:pt>
                <c:pt idx="739">
                  <c:v>23652</c:v>
                </c:pt>
                <c:pt idx="740">
                  <c:v>22535</c:v>
                </c:pt>
                <c:pt idx="741">
                  <c:v>20932</c:v>
                </c:pt>
                <c:pt idx="742">
                  <c:v>22179</c:v>
                </c:pt>
                <c:pt idx="743">
                  <c:v>22441</c:v>
                </c:pt>
                <c:pt idx="744">
                  <c:v>22495</c:v>
                </c:pt>
                <c:pt idx="745">
                  <c:v>22337</c:v>
                </c:pt>
                <c:pt idx="746">
                  <c:v>22002</c:v>
                </c:pt>
                <c:pt idx="747">
                  <c:v>22568</c:v>
                </c:pt>
                <c:pt idx="748">
                  <c:v>22874</c:v>
                </c:pt>
                <c:pt idx="749">
                  <c:v>22734</c:v>
                </c:pt>
                <c:pt idx="750">
                  <c:v>23498</c:v>
                </c:pt>
                <c:pt idx="751">
                  <c:v>23567</c:v>
                </c:pt>
                <c:pt idx="752">
                  <c:v>22436</c:v>
                </c:pt>
                <c:pt idx="753">
                  <c:v>22059</c:v>
                </c:pt>
                <c:pt idx="754">
                  <c:v>22636</c:v>
                </c:pt>
                <c:pt idx="755">
                  <c:v>21938</c:v>
                </c:pt>
                <c:pt idx="756">
                  <c:v>22386</c:v>
                </c:pt>
                <c:pt idx="757">
                  <c:v>21815</c:v>
                </c:pt>
                <c:pt idx="758">
                  <c:v>21492</c:v>
                </c:pt>
                <c:pt idx="759">
                  <c:v>21897</c:v>
                </c:pt>
                <c:pt idx="760">
                  <c:v>22096</c:v>
                </c:pt>
                <c:pt idx="761">
                  <c:v>22083</c:v>
                </c:pt>
                <c:pt idx="762">
                  <c:v>21917</c:v>
                </c:pt>
                <c:pt idx="763">
                  <c:v>21724</c:v>
                </c:pt>
                <c:pt idx="764">
                  <c:v>22471</c:v>
                </c:pt>
                <c:pt idx="765">
                  <c:v>21053</c:v>
                </c:pt>
                <c:pt idx="766">
                  <c:v>22185</c:v>
                </c:pt>
                <c:pt idx="767">
                  <c:v>21867</c:v>
                </c:pt>
                <c:pt idx="768">
                  <c:v>21750</c:v>
                </c:pt>
                <c:pt idx="769">
                  <c:v>22205</c:v>
                </c:pt>
                <c:pt idx="770">
                  <c:v>22960</c:v>
                </c:pt>
                <c:pt idx="771">
                  <c:v>23309</c:v>
                </c:pt>
                <c:pt idx="772">
                  <c:v>22506</c:v>
                </c:pt>
                <c:pt idx="773">
                  <c:v>22633</c:v>
                </c:pt>
                <c:pt idx="774">
                  <c:v>22251</c:v>
                </c:pt>
                <c:pt idx="775">
                  <c:v>22702</c:v>
                </c:pt>
                <c:pt idx="776">
                  <c:v>22518</c:v>
                </c:pt>
                <c:pt idx="777">
                  <c:v>21834</c:v>
                </c:pt>
                <c:pt idx="778">
                  <c:v>22168</c:v>
                </c:pt>
                <c:pt idx="779">
                  <c:v>22313</c:v>
                </c:pt>
                <c:pt idx="780">
                  <c:v>22734</c:v>
                </c:pt>
                <c:pt idx="781">
                  <c:v>21433</c:v>
                </c:pt>
                <c:pt idx="782">
                  <c:v>20804</c:v>
                </c:pt>
                <c:pt idx="783">
                  <c:v>21773</c:v>
                </c:pt>
                <c:pt idx="784">
                  <c:v>21765</c:v>
                </c:pt>
                <c:pt idx="785">
                  <c:v>22824</c:v>
                </c:pt>
                <c:pt idx="786">
                  <c:v>21775</c:v>
                </c:pt>
                <c:pt idx="787">
                  <c:v>21366</c:v>
                </c:pt>
                <c:pt idx="788">
                  <c:v>21016</c:v>
                </c:pt>
                <c:pt idx="789">
                  <c:v>21375</c:v>
                </c:pt>
                <c:pt idx="790">
                  <c:v>21007</c:v>
                </c:pt>
                <c:pt idx="791">
                  <c:v>20849</c:v>
                </c:pt>
                <c:pt idx="792">
                  <c:v>21389</c:v>
                </c:pt>
                <c:pt idx="793">
                  <c:v>21673</c:v>
                </c:pt>
                <c:pt idx="794">
                  <c:v>22345</c:v>
                </c:pt>
                <c:pt idx="795">
                  <c:v>22172</c:v>
                </c:pt>
                <c:pt idx="796">
                  <c:v>21997</c:v>
                </c:pt>
                <c:pt idx="797">
                  <c:v>21308</c:v>
                </c:pt>
                <c:pt idx="798">
                  <c:v>20966</c:v>
                </c:pt>
                <c:pt idx="799">
                  <c:v>21645</c:v>
                </c:pt>
                <c:pt idx="800">
                  <c:v>21059</c:v>
                </c:pt>
                <c:pt idx="801">
                  <c:v>21471</c:v>
                </c:pt>
                <c:pt idx="802">
                  <c:v>20356</c:v>
                </c:pt>
                <c:pt idx="803">
                  <c:v>21830</c:v>
                </c:pt>
                <c:pt idx="804">
                  <c:v>21145</c:v>
                </c:pt>
                <c:pt idx="805">
                  <c:v>21021</c:v>
                </c:pt>
                <c:pt idx="806">
                  <c:v>21295</c:v>
                </c:pt>
                <c:pt idx="807">
                  <c:v>20546</c:v>
                </c:pt>
                <c:pt idx="808">
                  <c:v>21015</c:v>
                </c:pt>
                <c:pt idx="809">
                  <c:v>20778</c:v>
                </c:pt>
                <c:pt idx="810">
                  <c:v>20084</c:v>
                </c:pt>
                <c:pt idx="811">
                  <c:v>20263</c:v>
                </c:pt>
                <c:pt idx="812">
                  <c:v>20857</c:v>
                </c:pt>
                <c:pt idx="813">
                  <c:v>20839</c:v>
                </c:pt>
                <c:pt idx="814">
                  <c:v>21165</c:v>
                </c:pt>
                <c:pt idx="815">
                  <c:v>20772</c:v>
                </c:pt>
                <c:pt idx="816">
                  <c:v>21065</c:v>
                </c:pt>
                <c:pt idx="817">
                  <c:v>20108</c:v>
                </c:pt>
                <c:pt idx="818">
                  <c:v>19872</c:v>
                </c:pt>
                <c:pt idx="819">
                  <c:v>21006</c:v>
                </c:pt>
                <c:pt idx="820">
                  <c:v>20324</c:v>
                </c:pt>
                <c:pt idx="821">
                  <c:v>21114</c:v>
                </c:pt>
                <c:pt idx="822">
                  <c:v>19880</c:v>
                </c:pt>
                <c:pt idx="823">
                  <c:v>19884</c:v>
                </c:pt>
                <c:pt idx="824">
                  <c:v>19129</c:v>
                </c:pt>
                <c:pt idx="825">
                  <c:v>20069</c:v>
                </c:pt>
                <c:pt idx="826">
                  <c:v>20287</c:v>
                </c:pt>
                <c:pt idx="827">
                  <c:v>20449</c:v>
                </c:pt>
                <c:pt idx="828">
                  <c:v>20256</c:v>
                </c:pt>
                <c:pt idx="829">
                  <c:v>19674</c:v>
                </c:pt>
                <c:pt idx="830">
                  <c:v>20205</c:v>
                </c:pt>
                <c:pt idx="831">
                  <c:v>20523</c:v>
                </c:pt>
                <c:pt idx="832">
                  <c:v>20444</c:v>
                </c:pt>
                <c:pt idx="833">
                  <c:v>20186</c:v>
                </c:pt>
                <c:pt idx="834">
                  <c:v>19184</c:v>
                </c:pt>
                <c:pt idx="835">
                  <c:v>19934</c:v>
                </c:pt>
                <c:pt idx="836">
                  <c:v>19257</c:v>
                </c:pt>
                <c:pt idx="837">
                  <c:v>19903</c:v>
                </c:pt>
                <c:pt idx="838">
                  <c:v>18073</c:v>
                </c:pt>
                <c:pt idx="839">
                  <c:v>20098</c:v>
                </c:pt>
                <c:pt idx="840">
                  <c:v>19813</c:v>
                </c:pt>
                <c:pt idx="841">
                  <c:v>19648</c:v>
                </c:pt>
                <c:pt idx="842">
                  <c:v>20063</c:v>
                </c:pt>
                <c:pt idx="843">
                  <c:v>18422</c:v>
                </c:pt>
                <c:pt idx="844">
                  <c:v>18977</c:v>
                </c:pt>
                <c:pt idx="845">
                  <c:v>19472</c:v>
                </c:pt>
                <c:pt idx="846">
                  <c:v>18687</c:v>
                </c:pt>
                <c:pt idx="847">
                  <c:v>18247</c:v>
                </c:pt>
                <c:pt idx="848">
                  <c:v>18351</c:v>
                </c:pt>
                <c:pt idx="849">
                  <c:v>18456</c:v>
                </c:pt>
                <c:pt idx="850">
                  <c:v>18827</c:v>
                </c:pt>
                <c:pt idx="851">
                  <c:v>18569</c:v>
                </c:pt>
                <c:pt idx="852">
                  <c:v>18542</c:v>
                </c:pt>
                <c:pt idx="853">
                  <c:v>18277</c:v>
                </c:pt>
                <c:pt idx="854">
                  <c:v>18114</c:v>
                </c:pt>
                <c:pt idx="855">
                  <c:v>18636</c:v>
                </c:pt>
                <c:pt idx="856">
                  <c:v>18233</c:v>
                </c:pt>
                <c:pt idx="857">
                  <c:v>18674</c:v>
                </c:pt>
                <c:pt idx="858">
                  <c:v>18628</c:v>
                </c:pt>
                <c:pt idx="859">
                  <c:v>18450</c:v>
                </c:pt>
                <c:pt idx="860">
                  <c:v>18360</c:v>
                </c:pt>
                <c:pt idx="861">
                  <c:v>17327</c:v>
                </c:pt>
                <c:pt idx="862">
                  <c:v>16717</c:v>
                </c:pt>
                <c:pt idx="863">
                  <c:v>16586</c:v>
                </c:pt>
                <c:pt idx="864">
                  <c:v>16116</c:v>
                </c:pt>
                <c:pt idx="865">
                  <c:v>16991</c:v>
                </c:pt>
                <c:pt idx="866">
                  <c:v>17686</c:v>
                </c:pt>
                <c:pt idx="867">
                  <c:v>17552</c:v>
                </c:pt>
                <c:pt idx="868">
                  <c:v>16585</c:v>
                </c:pt>
                <c:pt idx="869">
                  <c:v>16739</c:v>
                </c:pt>
                <c:pt idx="870">
                  <c:v>16009</c:v>
                </c:pt>
                <c:pt idx="871">
                  <c:v>16200</c:v>
                </c:pt>
                <c:pt idx="872">
                  <c:v>16507</c:v>
                </c:pt>
                <c:pt idx="873">
                  <c:v>16990</c:v>
                </c:pt>
                <c:pt idx="874">
                  <c:v>16397</c:v>
                </c:pt>
                <c:pt idx="875">
                  <c:v>17398</c:v>
                </c:pt>
                <c:pt idx="876">
                  <c:v>16985</c:v>
                </c:pt>
                <c:pt idx="877">
                  <c:v>16626</c:v>
                </c:pt>
                <c:pt idx="878">
                  <c:v>16658</c:v>
                </c:pt>
                <c:pt idx="879">
                  <c:v>16232</c:v>
                </c:pt>
                <c:pt idx="880">
                  <c:v>16198</c:v>
                </c:pt>
                <c:pt idx="881">
                  <c:v>16333</c:v>
                </c:pt>
                <c:pt idx="882">
                  <c:v>15567</c:v>
                </c:pt>
                <c:pt idx="883">
                  <c:v>14769</c:v>
                </c:pt>
                <c:pt idx="884">
                  <c:v>15535</c:v>
                </c:pt>
                <c:pt idx="885">
                  <c:v>15569</c:v>
                </c:pt>
                <c:pt idx="886">
                  <c:v>15263</c:v>
                </c:pt>
                <c:pt idx="887">
                  <c:v>15798</c:v>
                </c:pt>
                <c:pt idx="888">
                  <c:v>15652</c:v>
                </c:pt>
                <c:pt idx="889">
                  <c:v>15348</c:v>
                </c:pt>
                <c:pt idx="890">
                  <c:v>15771</c:v>
                </c:pt>
                <c:pt idx="891">
                  <c:v>15700</c:v>
                </c:pt>
                <c:pt idx="892">
                  <c:v>15287</c:v>
                </c:pt>
                <c:pt idx="893">
                  <c:v>14652</c:v>
                </c:pt>
                <c:pt idx="894">
                  <c:v>14412</c:v>
                </c:pt>
                <c:pt idx="895">
                  <c:v>14781</c:v>
                </c:pt>
                <c:pt idx="896">
                  <c:v>14860</c:v>
                </c:pt>
                <c:pt idx="897">
                  <c:v>14129</c:v>
                </c:pt>
                <c:pt idx="898">
                  <c:v>14496</c:v>
                </c:pt>
                <c:pt idx="899">
                  <c:v>13781</c:v>
                </c:pt>
                <c:pt idx="900">
                  <c:v>14434</c:v>
                </c:pt>
                <c:pt idx="901">
                  <c:v>14763</c:v>
                </c:pt>
                <c:pt idx="902">
                  <c:v>14132</c:v>
                </c:pt>
                <c:pt idx="903">
                  <c:v>14340</c:v>
                </c:pt>
                <c:pt idx="904">
                  <c:v>13989</c:v>
                </c:pt>
                <c:pt idx="905">
                  <c:v>13373</c:v>
                </c:pt>
                <c:pt idx="906">
                  <c:v>13827</c:v>
                </c:pt>
                <c:pt idx="907">
                  <c:v>13406</c:v>
                </c:pt>
                <c:pt idx="908">
                  <c:v>13624</c:v>
                </c:pt>
                <c:pt idx="909">
                  <c:v>13711</c:v>
                </c:pt>
                <c:pt idx="910">
                  <c:v>13567</c:v>
                </c:pt>
                <c:pt idx="911">
                  <c:v>13460</c:v>
                </c:pt>
                <c:pt idx="912">
                  <c:v>14432</c:v>
                </c:pt>
                <c:pt idx="913">
                  <c:v>13863</c:v>
                </c:pt>
                <c:pt idx="914">
                  <c:v>13508</c:v>
                </c:pt>
                <c:pt idx="915">
                  <c:v>13473</c:v>
                </c:pt>
                <c:pt idx="916">
                  <c:v>13193</c:v>
                </c:pt>
                <c:pt idx="917">
                  <c:v>12358</c:v>
                </c:pt>
                <c:pt idx="918">
                  <c:v>12480</c:v>
                </c:pt>
                <c:pt idx="919">
                  <c:v>12347</c:v>
                </c:pt>
                <c:pt idx="920">
                  <c:v>12200</c:v>
                </c:pt>
                <c:pt idx="921">
                  <c:v>12110</c:v>
                </c:pt>
                <c:pt idx="922">
                  <c:v>12055</c:v>
                </c:pt>
                <c:pt idx="923">
                  <c:v>12292</c:v>
                </c:pt>
                <c:pt idx="924">
                  <c:v>11708</c:v>
                </c:pt>
                <c:pt idx="925">
                  <c:v>11812</c:v>
                </c:pt>
                <c:pt idx="926">
                  <c:v>11764</c:v>
                </c:pt>
                <c:pt idx="927">
                  <c:v>11623</c:v>
                </c:pt>
                <c:pt idx="928">
                  <c:v>11898</c:v>
                </c:pt>
                <c:pt idx="929">
                  <c:v>11495</c:v>
                </c:pt>
                <c:pt idx="930">
                  <c:v>11859</c:v>
                </c:pt>
                <c:pt idx="931">
                  <c:v>10909</c:v>
                </c:pt>
                <c:pt idx="932">
                  <c:v>11833</c:v>
                </c:pt>
                <c:pt idx="933">
                  <c:v>11881</c:v>
                </c:pt>
                <c:pt idx="934">
                  <c:v>11157</c:v>
                </c:pt>
                <c:pt idx="935">
                  <c:v>11179</c:v>
                </c:pt>
                <c:pt idx="936">
                  <c:v>11330</c:v>
                </c:pt>
                <c:pt idx="937">
                  <c:v>11104</c:v>
                </c:pt>
                <c:pt idx="938">
                  <c:v>11054</c:v>
                </c:pt>
                <c:pt idx="939">
                  <c:v>10778</c:v>
                </c:pt>
                <c:pt idx="940">
                  <c:v>11174</c:v>
                </c:pt>
                <c:pt idx="941">
                  <c:v>10330</c:v>
                </c:pt>
                <c:pt idx="942">
                  <c:v>10303</c:v>
                </c:pt>
                <c:pt idx="943">
                  <c:v>10042</c:v>
                </c:pt>
                <c:pt idx="944">
                  <c:v>10115</c:v>
                </c:pt>
                <c:pt idx="945">
                  <c:v>10338</c:v>
                </c:pt>
                <c:pt idx="946">
                  <c:v>10028</c:v>
                </c:pt>
                <c:pt idx="947">
                  <c:v>9454</c:v>
                </c:pt>
                <c:pt idx="948">
                  <c:v>9761</c:v>
                </c:pt>
                <c:pt idx="949">
                  <c:v>10093</c:v>
                </c:pt>
                <c:pt idx="950">
                  <c:v>9582</c:v>
                </c:pt>
                <c:pt idx="951">
                  <c:v>9968</c:v>
                </c:pt>
                <c:pt idx="952">
                  <c:v>9955</c:v>
                </c:pt>
                <c:pt idx="953">
                  <c:v>9352</c:v>
                </c:pt>
                <c:pt idx="954">
                  <c:v>9601</c:v>
                </c:pt>
                <c:pt idx="955">
                  <c:v>8884</c:v>
                </c:pt>
                <c:pt idx="956">
                  <c:v>8605</c:v>
                </c:pt>
                <c:pt idx="957">
                  <c:v>8917</c:v>
                </c:pt>
                <c:pt idx="958">
                  <c:v>9174</c:v>
                </c:pt>
                <c:pt idx="959">
                  <c:v>9132</c:v>
                </c:pt>
                <c:pt idx="960">
                  <c:v>9014</c:v>
                </c:pt>
                <c:pt idx="961">
                  <c:v>8724</c:v>
                </c:pt>
                <c:pt idx="962">
                  <c:v>8890</c:v>
                </c:pt>
                <c:pt idx="963">
                  <c:v>9137</c:v>
                </c:pt>
                <c:pt idx="964">
                  <c:v>8385</c:v>
                </c:pt>
                <c:pt idx="965">
                  <c:v>8377</c:v>
                </c:pt>
                <c:pt idx="966">
                  <c:v>7856</c:v>
                </c:pt>
                <c:pt idx="967">
                  <c:v>8439</c:v>
                </c:pt>
                <c:pt idx="968">
                  <c:v>8413</c:v>
                </c:pt>
                <c:pt idx="969">
                  <c:v>8160</c:v>
                </c:pt>
                <c:pt idx="970">
                  <c:v>8828</c:v>
                </c:pt>
                <c:pt idx="971">
                  <c:v>8344</c:v>
                </c:pt>
                <c:pt idx="972">
                  <c:v>8271</c:v>
                </c:pt>
                <c:pt idx="973">
                  <c:v>7770</c:v>
                </c:pt>
                <c:pt idx="974">
                  <c:v>8105</c:v>
                </c:pt>
                <c:pt idx="975">
                  <c:v>8068</c:v>
                </c:pt>
                <c:pt idx="976">
                  <c:v>7776</c:v>
                </c:pt>
                <c:pt idx="977">
                  <c:v>7624</c:v>
                </c:pt>
                <c:pt idx="978">
                  <c:v>7525</c:v>
                </c:pt>
                <c:pt idx="979">
                  <c:v>7047</c:v>
                </c:pt>
                <c:pt idx="980">
                  <c:v>7121</c:v>
                </c:pt>
                <c:pt idx="981">
                  <c:v>7412</c:v>
                </c:pt>
                <c:pt idx="982">
                  <c:v>7324</c:v>
                </c:pt>
                <c:pt idx="983">
                  <c:v>6983</c:v>
                </c:pt>
                <c:pt idx="984">
                  <c:v>6928</c:v>
                </c:pt>
                <c:pt idx="985">
                  <c:v>6747</c:v>
                </c:pt>
                <c:pt idx="986">
                  <c:v>6698</c:v>
                </c:pt>
                <c:pt idx="987">
                  <c:v>6615</c:v>
                </c:pt>
                <c:pt idx="988">
                  <c:v>6635</c:v>
                </c:pt>
                <c:pt idx="989">
                  <c:v>6175</c:v>
                </c:pt>
                <c:pt idx="990">
                  <c:v>6056</c:v>
                </c:pt>
                <c:pt idx="991">
                  <c:v>6239</c:v>
                </c:pt>
                <c:pt idx="992">
                  <c:v>6325</c:v>
                </c:pt>
                <c:pt idx="993">
                  <c:v>6233</c:v>
                </c:pt>
                <c:pt idx="994">
                  <c:v>6194</c:v>
                </c:pt>
                <c:pt idx="995">
                  <c:v>6249</c:v>
                </c:pt>
                <c:pt idx="996">
                  <c:v>6244</c:v>
                </c:pt>
                <c:pt idx="997">
                  <c:v>6616</c:v>
                </c:pt>
                <c:pt idx="998">
                  <c:v>6038</c:v>
                </c:pt>
                <c:pt idx="999">
                  <c:v>6087</c:v>
                </c:pt>
                <c:pt idx="1000">
                  <c:v>6004</c:v>
                </c:pt>
                <c:pt idx="1001">
                  <c:v>6159</c:v>
                </c:pt>
                <c:pt idx="1002">
                  <c:v>5571</c:v>
                </c:pt>
                <c:pt idx="1003">
                  <c:v>6461</c:v>
                </c:pt>
                <c:pt idx="1004">
                  <c:v>5642</c:v>
                </c:pt>
                <c:pt idx="1005">
                  <c:v>5914</c:v>
                </c:pt>
                <c:pt idx="1006">
                  <c:v>6020</c:v>
                </c:pt>
                <c:pt idx="1007">
                  <c:v>5901</c:v>
                </c:pt>
                <c:pt idx="1008">
                  <c:v>6066</c:v>
                </c:pt>
                <c:pt idx="1009">
                  <c:v>5506</c:v>
                </c:pt>
                <c:pt idx="1010">
                  <c:v>5876</c:v>
                </c:pt>
                <c:pt idx="1011">
                  <c:v>5506</c:v>
                </c:pt>
                <c:pt idx="1012">
                  <c:v>5700</c:v>
                </c:pt>
                <c:pt idx="1013">
                  <c:v>5186</c:v>
                </c:pt>
                <c:pt idx="1014">
                  <c:v>5296</c:v>
                </c:pt>
                <c:pt idx="1015">
                  <c:v>5409</c:v>
                </c:pt>
                <c:pt idx="1016">
                  <c:v>5295</c:v>
                </c:pt>
                <c:pt idx="1017">
                  <c:v>5269</c:v>
                </c:pt>
                <c:pt idx="1018">
                  <c:v>5285</c:v>
                </c:pt>
                <c:pt idx="1019">
                  <c:v>5200</c:v>
                </c:pt>
                <c:pt idx="1020">
                  <c:v>5221</c:v>
                </c:pt>
                <c:pt idx="1021">
                  <c:v>4909</c:v>
                </c:pt>
                <c:pt idx="1022">
                  <c:v>5449</c:v>
                </c:pt>
                <c:pt idx="1023">
                  <c:v>4822</c:v>
                </c:pt>
                <c:pt idx="1024">
                  <c:v>5118</c:v>
                </c:pt>
                <c:pt idx="1025">
                  <c:v>4832</c:v>
                </c:pt>
                <c:pt idx="1026">
                  <c:v>4738</c:v>
                </c:pt>
                <c:pt idx="1027">
                  <c:v>5176</c:v>
                </c:pt>
                <c:pt idx="1028">
                  <c:v>5025</c:v>
                </c:pt>
                <c:pt idx="1029">
                  <c:v>4719</c:v>
                </c:pt>
                <c:pt idx="1030">
                  <c:v>4181</c:v>
                </c:pt>
                <c:pt idx="1031">
                  <c:v>4324</c:v>
                </c:pt>
                <c:pt idx="1032">
                  <c:v>4410</c:v>
                </c:pt>
                <c:pt idx="1033">
                  <c:v>4301</c:v>
                </c:pt>
                <c:pt idx="1034">
                  <c:v>4303</c:v>
                </c:pt>
                <c:pt idx="1035">
                  <c:v>4398</c:v>
                </c:pt>
                <c:pt idx="1036">
                  <c:v>4375</c:v>
                </c:pt>
                <c:pt idx="1037">
                  <c:v>4601</c:v>
                </c:pt>
                <c:pt idx="1038">
                  <c:v>4240</c:v>
                </c:pt>
                <c:pt idx="1039">
                  <c:v>4502</c:v>
                </c:pt>
                <c:pt idx="1040">
                  <c:v>4510</c:v>
                </c:pt>
                <c:pt idx="1041">
                  <c:v>4013</c:v>
                </c:pt>
                <c:pt idx="1042">
                  <c:v>4177</c:v>
                </c:pt>
                <c:pt idx="1043">
                  <c:v>3948</c:v>
                </c:pt>
                <c:pt idx="1044">
                  <c:v>3912</c:v>
                </c:pt>
                <c:pt idx="1045">
                  <c:v>4082</c:v>
                </c:pt>
                <c:pt idx="1046">
                  <c:v>4002</c:v>
                </c:pt>
                <c:pt idx="1047">
                  <c:v>4103</c:v>
                </c:pt>
                <c:pt idx="1048">
                  <c:v>4327</c:v>
                </c:pt>
                <c:pt idx="1049">
                  <c:v>3917</c:v>
                </c:pt>
                <c:pt idx="1050">
                  <c:v>4090</c:v>
                </c:pt>
                <c:pt idx="1051">
                  <c:v>4452</c:v>
                </c:pt>
                <c:pt idx="1052">
                  <c:v>4139</c:v>
                </c:pt>
                <c:pt idx="1053">
                  <c:v>3888</c:v>
                </c:pt>
                <c:pt idx="1054">
                  <c:v>3771</c:v>
                </c:pt>
                <c:pt idx="1055">
                  <c:v>4005</c:v>
                </c:pt>
                <c:pt idx="1056">
                  <c:v>3917</c:v>
                </c:pt>
                <c:pt idx="1057">
                  <c:v>4159</c:v>
                </c:pt>
                <c:pt idx="1058">
                  <c:v>4159</c:v>
                </c:pt>
                <c:pt idx="1059">
                  <c:v>3902</c:v>
                </c:pt>
                <c:pt idx="1060">
                  <c:v>3865</c:v>
                </c:pt>
                <c:pt idx="1061">
                  <c:v>4008</c:v>
                </c:pt>
                <c:pt idx="1062">
                  <c:v>4160</c:v>
                </c:pt>
                <c:pt idx="1063">
                  <c:v>3715</c:v>
                </c:pt>
                <c:pt idx="1064">
                  <c:v>4209</c:v>
                </c:pt>
                <c:pt idx="1065">
                  <c:v>4078</c:v>
                </c:pt>
                <c:pt idx="1066">
                  <c:v>3690</c:v>
                </c:pt>
                <c:pt idx="1067">
                  <c:v>3954</c:v>
                </c:pt>
                <c:pt idx="1068">
                  <c:v>3697</c:v>
                </c:pt>
                <c:pt idx="1069">
                  <c:v>3692</c:v>
                </c:pt>
                <c:pt idx="1070">
                  <c:v>3776</c:v>
                </c:pt>
                <c:pt idx="1071">
                  <c:v>3437</c:v>
                </c:pt>
                <c:pt idx="1072">
                  <c:v>3157</c:v>
                </c:pt>
                <c:pt idx="1073">
                  <c:v>3562</c:v>
                </c:pt>
                <c:pt idx="1074">
                  <c:v>3391</c:v>
                </c:pt>
                <c:pt idx="1075">
                  <c:v>3477</c:v>
                </c:pt>
                <c:pt idx="1076">
                  <c:v>3612</c:v>
                </c:pt>
                <c:pt idx="1077">
                  <c:v>3528</c:v>
                </c:pt>
                <c:pt idx="1078">
                  <c:v>3393</c:v>
                </c:pt>
                <c:pt idx="1079">
                  <c:v>3501</c:v>
                </c:pt>
                <c:pt idx="1080">
                  <c:v>3664</c:v>
                </c:pt>
                <c:pt idx="1081">
                  <c:v>3367</c:v>
                </c:pt>
                <c:pt idx="1082">
                  <c:v>3357</c:v>
                </c:pt>
                <c:pt idx="1083">
                  <c:v>3166</c:v>
                </c:pt>
                <c:pt idx="1084">
                  <c:v>3148</c:v>
                </c:pt>
                <c:pt idx="1085">
                  <c:v>3183</c:v>
                </c:pt>
                <c:pt idx="1086">
                  <c:v>3416</c:v>
                </c:pt>
                <c:pt idx="1087">
                  <c:v>3504</c:v>
                </c:pt>
                <c:pt idx="1088">
                  <c:v>3242</c:v>
                </c:pt>
                <c:pt idx="1089">
                  <c:v>3258</c:v>
                </c:pt>
                <c:pt idx="1090">
                  <c:v>3451</c:v>
                </c:pt>
                <c:pt idx="1091">
                  <c:v>2976</c:v>
                </c:pt>
                <c:pt idx="1092">
                  <c:v>2739</c:v>
                </c:pt>
                <c:pt idx="1093">
                  <c:v>3165</c:v>
                </c:pt>
                <c:pt idx="1094">
                  <c:v>2754</c:v>
                </c:pt>
                <c:pt idx="1095">
                  <c:v>2925</c:v>
                </c:pt>
                <c:pt idx="1096">
                  <c:v>3110</c:v>
                </c:pt>
                <c:pt idx="1097">
                  <c:v>3020</c:v>
                </c:pt>
                <c:pt idx="1098">
                  <c:v>3118</c:v>
                </c:pt>
                <c:pt idx="1099">
                  <c:v>3134</c:v>
                </c:pt>
                <c:pt idx="1100">
                  <c:v>3003</c:v>
                </c:pt>
                <c:pt idx="1101">
                  <c:v>2887</c:v>
                </c:pt>
                <c:pt idx="1102">
                  <c:v>2993</c:v>
                </c:pt>
                <c:pt idx="1103">
                  <c:v>2793</c:v>
                </c:pt>
                <c:pt idx="1104">
                  <c:v>3126</c:v>
                </c:pt>
                <c:pt idx="1105">
                  <c:v>3158</c:v>
                </c:pt>
                <c:pt idx="1106">
                  <c:v>3103</c:v>
                </c:pt>
                <c:pt idx="1107">
                  <c:v>2988</c:v>
                </c:pt>
                <c:pt idx="1108">
                  <c:v>2982</c:v>
                </c:pt>
                <c:pt idx="1109">
                  <c:v>2844</c:v>
                </c:pt>
                <c:pt idx="1110">
                  <c:v>2982</c:v>
                </c:pt>
                <c:pt idx="1111">
                  <c:v>2974</c:v>
                </c:pt>
                <c:pt idx="1112">
                  <c:v>2984</c:v>
                </c:pt>
                <c:pt idx="1113">
                  <c:v>3053</c:v>
                </c:pt>
                <c:pt idx="1114">
                  <c:v>2676</c:v>
                </c:pt>
                <c:pt idx="1115">
                  <c:v>2805</c:v>
                </c:pt>
                <c:pt idx="1116">
                  <c:v>2587</c:v>
                </c:pt>
                <c:pt idx="1117">
                  <c:v>2866</c:v>
                </c:pt>
                <c:pt idx="1118">
                  <c:v>2908</c:v>
                </c:pt>
                <c:pt idx="1119">
                  <c:v>2672</c:v>
                </c:pt>
                <c:pt idx="1120">
                  <c:v>2780</c:v>
                </c:pt>
                <c:pt idx="1121">
                  <c:v>2744</c:v>
                </c:pt>
                <c:pt idx="1122">
                  <c:v>2791</c:v>
                </c:pt>
                <c:pt idx="1123">
                  <c:v>3054</c:v>
                </c:pt>
                <c:pt idx="1124">
                  <c:v>2738</c:v>
                </c:pt>
                <c:pt idx="1125">
                  <c:v>3232</c:v>
                </c:pt>
                <c:pt idx="1126">
                  <c:v>2712</c:v>
                </c:pt>
                <c:pt idx="1127">
                  <c:v>2942</c:v>
                </c:pt>
                <c:pt idx="1128">
                  <c:v>2849</c:v>
                </c:pt>
                <c:pt idx="1129">
                  <c:v>2847</c:v>
                </c:pt>
                <c:pt idx="1130">
                  <c:v>3259</c:v>
                </c:pt>
                <c:pt idx="1131">
                  <c:v>4321</c:v>
                </c:pt>
                <c:pt idx="1132">
                  <c:v>4182</c:v>
                </c:pt>
                <c:pt idx="1133">
                  <c:v>4554</c:v>
                </c:pt>
                <c:pt idx="1134">
                  <c:v>4395</c:v>
                </c:pt>
                <c:pt idx="1135">
                  <c:v>4062</c:v>
                </c:pt>
                <c:pt idx="1136">
                  <c:v>4007</c:v>
                </c:pt>
                <c:pt idx="1137">
                  <c:v>4257</c:v>
                </c:pt>
                <c:pt idx="1138">
                  <c:v>4344</c:v>
                </c:pt>
                <c:pt idx="1139">
                  <c:v>4129</c:v>
                </c:pt>
                <c:pt idx="1140">
                  <c:v>4430</c:v>
                </c:pt>
                <c:pt idx="1141">
                  <c:v>4406</c:v>
                </c:pt>
                <c:pt idx="1142">
                  <c:v>3459</c:v>
                </c:pt>
                <c:pt idx="1143">
                  <c:v>2845</c:v>
                </c:pt>
                <c:pt idx="1144">
                  <c:v>2588</c:v>
                </c:pt>
                <c:pt idx="1145">
                  <c:v>2390</c:v>
                </c:pt>
                <c:pt idx="1146">
                  <c:v>2421</c:v>
                </c:pt>
                <c:pt idx="1147">
                  <c:v>2559</c:v>
                </c:pt>
                <c:pt idx="1148">
                  <c:v>2456</c:v>
                </c:pt>
                <c:pt idx="1149">
                  <c:v>2266</c:v>
                </c:pt>
                <c:pt idx="1150">
                  <c:v>2354</c:v>
                </c:pt>
                <c:pt idx="1151">
                  <c:v>2557</c:v>
                </c:pt>
                <c:pt idx="1152">
                  <c:v>2330</c:v>
                </c:pt>
                <c:pt idx="1153">
                  <c:v>2396</c:v>
                </c:pt>
                <c:pt idx="1154">
                  <c:v>2397</c:v>
                </c:pt>
                <c:pt idx="1155">
                  <c:v>2593</c:v>
                </c:pt>
                <c:pt idx="1156">
                  <c:v>2374</c:v>
                </c:pt>
                <c:pt idx="1157">
                  <c:v>2393</c:v>
                </c:pt>
                <c:pt idx="1158">
                  <c:v>2342</c:v>
                </c:pt>
                <c:pt idx="1159">
                  <c:v>2438</c:v>
                </c:pt>
                <c:pt idx="1160">
                  <c:v>2490</c:v>
                </c:pt>
                <c:pt idx="1161">
                  <c:v>2557</c:v>
                </c:pt>
                <c:pt idx="1162">
                  <c:v>2467</c:v>
                </c:pt>
                <c:pt idx="1163">
                  <c:v>2334</c:v>
                </c:pt>
                <c:pt idx="1164">
                  <c:v>2352</c:v>
                </c:pt>
                <c:pt idx="1165">
                  <c:v>2377</c:v>
                </c:pt>
                <c:pt idx="1166">
                  <c:v>2241</c:v>
                </c:pt>
                <c:pt idx="1167">
                  <c:v>2311</c:v>
                </c:pt>
                <c:pt idx="1168">
                  <c:v>2162</c:v>
                </c:pt>
                <c:pt idx="1169">
                  <c:v>2397</c:v>
                </c:pt>
                <c:pt idx="1170">
                  <c:v>2033</c:v>
                </c:pt>
                <c:pt idx="1171">
                  <c:v>2175</c:v>
                </c:pt>
                <c:pt idx="1172">
                  <c:v>2271</c:v>
                </c:pt>
                <c:pt idx="1173">
                  <c:v>2065</c:v>
                </c:pt>
                <c:pt idx="1174">
                  <c:v>2191</c:v>
                </c:pt>
                <c:pt idx="1175">
                  <c:v>1934</c:v>
                </c:pt>
                <c:pt idx="1176">
                  <c:v>2179</c:v>
                </c:pt>
                <c:pt idx="1177">
                  <c:v>1969</c:v>
                </c:pt>
                <c:pt idx="1178">
                  <c:v>2005</c:v>
                </c:pt>
                <c:pt idx="1179">
                  <c:v>1914</c:v>
                </c:pt>
                <c:pt idx="1180">
                  <c:v>1922</c:v>
                </c:pt>
                <c:pt idx="1181">
                  <c:v>2187</c:v>
                </c:pt>
                <c:pt idx="1182">
                  <c:v>2325</c:v>
                </c:pt>
                <c:pt idx="1183">
                  <c:v>2354</c:v>
                </c:pt>
                <c:pt idx="1184">
                  <c:v>2200</c:v>
                </c:pt>
                <c:pt idx="1185">
                  <c:v>2280</c:v>
                </c:pt>
                <c:pt idx="1186">
                  <c:v>2109</c:v>
                </c:pt>
                <c:pt idx="1187">
                  <c:v>2217</c:v>
                </c:pt>
                <c:pt idx="1188">
                  <c:v>2097</c:v>
                </c:pt>
                <c:pt idx="1189">
                  <c:v>2286</c:v>
                </c:pt>
                <c:pt idx="1190">
                  <c:v>2035</c:v>
                </c:pt>
                <c:pt idx="1191">
                  <c:v>2352</c:v>
                </c:pt>
                <c:pt idx="1192">
                  <c:v>2279</c:v>
                </c:pt>
                <c:pt idx="1193">
                  <c:v>2195</c:v>
                </c:pt>
                <c:pt idx="1194">
                  <c:v>1947</c:v>
                </c:pt>
                <c:pt idx="1195">
                  <c:v>2231</c:v>
                </c:pt>
                <c:pt idx="1196">
                  <c:v>2384</c:v>
                </c:pt>
                <c:pt idx="1197">
                  <c:v>2186</c:v>
                </c:pt>
                <c:pt idx="1198">
                  <c:v>2091</c:v>
                </c:pt>
                <c:pt idx="1199">
                  <c:v>2194</c:v>
                </c:pt>
                <c:pt idx="1200">
                  <c:v>2347</c:v>
                </c:pt>
                <c:pt idx="1201">
                  <c:v>2316</c:v>
                </c:pt>
                <c:pt idx="1202">
                  <c:v>2347</c:v>
                </c:pt>
                <c:pt idx="1203">
                  <c:v>2215</c:v>
                </c:pt>
                <c:pt idx="1204">
                  <c:v>2275</c:v>
                </c:pt>
                <c:pt idx="1205">
                  <c:v>2441</c:v>
                </c:pt>
                <c:pt idx="1206">
                  <c:v>2343</c:v>
                </c:pt>
                <c:pt idx="1207">
                  <c:v>2307</c:v>
                </c:pt>
                <c:pt idx="1208">
                  <c:v>2019</c:v>
                </c:pt>
                <c:pt idx="1209">
                  <c:v>1987</c:v>
                </c:pt>
                <c:pt idx="1210">
                  <c:v>2273</c:v>
                </c:pt>
                <c:pt idx="1211">
                  <c:v>2151</c:v>
                </c:pt>
                <c:pt idx="1212">
                  <c:v>1978</c:v>
                </c:pt>
                <c:pt idx="1213">
                  <c:v>2040</c:v>
                </c:pt>
                <c:pt idx="1214">
                  <c:v>2098</c:v>
                </c:pt>
                <c:pt idx="1215">
                  <c:v>2210</c:v>
                </c:pt>
                <c:pt idx="1216">
                  <c:v>2144</c:v>
                </c:pt>
                <c:pt idx="1217">
                  <c:v>2295</c:v>
                </c:pt>
                <c:pt idx="1218">
                  <c:v>2219</c:v>
                </c:pt>
                <c:pt idx="1219">
                  <c:v>2522</c:v>
                </c:pt>
                <c:pt idx="1220">
                  <c:v>2091</c:v>
                </c:pt>
                <c:pt idx="1221">
                  <c:v>2335</c:v>
                </c:pt>
                <c:pt idx="1222">
                  <c:v>2228</c:v>
                </c:pt>
                <c:pt idx="1223">
                  <c:v>2255</c:v>
                </c:pt>
                <c:pt idx="1224">
                  <c:v>2364</c:v>
                </c:pt>
                <c:pt idx="1225">
                  <c:v>2283</c:v>
                </c:pt>
                <c:pt idx="1226">
                  <c:v>2011</c:v>
                </c:pt>
                <c:pt idx="1227">
                  <c:v>2075</c:v>
                </c:pt>
                <c:pt idx="1228">
                  <c:v>2036</c:v>
                </c:pt>
                <c:pt idx="1229">
                  <c:v>2109</c:v>
                </c:pt>
                <c:pt idx="1230">
                  <c:v>2220</c:v>
                </c:pt>
                <c:pt idx="1231">
                  <c:v>2074</c:v>
                </c:pt>
                <c:pt idx="1232">
                  <c:v>2158</c:v>
                </c:pt>
                <c:pt idx="1233">
                  <c:v>2260</c:v>
                </c:pt>
                <c:pt idx="1234">
                  <c:v>2224</c:v>
                </c:pt>
                <c:pt idx="1235">
                  <c:v>2077</c:v>
                </c:pt>
                <c:pt idx="1236">
                  <c:v>2038</c:v>
                </c:pt>
                <c:pt idx="1237">
                  <c:v>2081</c:v>
                </c:pt>
                <c:pt idx="1238">
                  <c:v>2129</c:v>
                </c:pt>
                <c:pt idx="1239">
                  <c:v>2240</c:v>
                </c:pt>
                <c:pt idx="1240">
                  <c:v>2296</c:v>
                </c:pt>
                <c:pt idx="1241">
                  <c:v>2378</c:v>
                </c:pt>
                <c:pt idx="1242">
                  <c:v>2450</c:v>
                </c:pt>
                <c:pt idx="1243">
                  <c:v>2579</c:v>
                </c:pt>
                <c:pt idx="1244">
                  <c:v>2139</c:v>
                </c:pt>
                <c:pt idx="1245">
                  <c:v>2454</c:v>
                </c:pt>
                <c:pt idx="1246">
                  <c:v>2696</c:v>
                </c:pt>
                <c:pt idx="1247">
                  <c:v>2358</c:v>
                </c:pt>
                <c:pt idx="1248">
                  <c:v>2520</c:v>
                </c:pt>
                <c:pt idx="1249">
                  <c:v>2733</c:v>
                </c:pt>
                <c:pt idx="1250">
                  <c:v>2826</c:v>
                </c:pt>
                <c:pt idx="1251">
                  <c:v>2255</c:v>
                </c:pt>
                <c:pt idx="1252">
                  <c:v>2328</c:v>
                </c:pt>
                <c:pt idx="1253">
                  <c:v>2447</c:v>
                </c:pt>
                <c:pt idx="1254">
                  <c:v>2117</c:v>
                </c:pt>
                <c:pt idx="1255">
                  <c:v>2350</c:v>
                </c:pt>
                <c:pt idx="1256">
                  <c:v>2347</c:v>
                </c:pt>
                <c:pt idx="1257">
                  <c:v>2210</c:v>
                </c:pt>
                <c:pt idx="1258">
                  <c:v>2022</c:v>
                </c:pt>
                <c:pt idx="1259">
                  <c:v>2468</c:v>
                </c:pt>
                <c:pt idx="1260">
                  <c:v>2255</c:v>
                </c:pt>
                <c:pt idx="1261">
                  <c:v>2527</c:v>
                </c:pt>
                <c:pt idx="1262">
                  <c:v>2225</c:v>
                </c:pt>
                <c:pt idx="1263">
                  <c:v>2316</c:v>
                </c:pt>
                <c:pt idx="1264">
                  <c:v>2579</c:v>
                </c:pt>
                <c:pt idx="1265">
                  <c:v>2124</c:v>
                </c:pt>
                <c:pt idx="1266">
                  <c:v>1996</c:v>
                </c:pt>
                <c:pt idx="1267">
                  <c:v>2045</c:v>
                </c:pt>
                <c:pt idx="1268">
                  <c:v>2359</c:v>
                </c:pt>
                <c:pt idx="1269">
                  <c:v>2516</c:v>
                </c:pt>
                <c:pt idx="1270">
                  <c:v>2429</c:v>
                </c:pt>
                <c:pt idx="1271">
                  <c:v>2420</c:v>
                </c:pt>
                <c:pt idx="1272">
                  <c:v>2176</c:v>
                </c:pt>
                <c:pt idx="1273">
                  <c:v>2465</c:v>
                </c:pt>
                <c:pt idx="1274">
                  <c:v>2446</c:v>
                </c:pt>
                <c:pt idx="1275">
                  <c:v>2448</c:v>
                </c:pt>
                <c:pt idx="1276">
                  <c:v>2441</c:v>
                </c:pt>
                <c:pt idx="1277">
                  <c:v>2302</c:v>
                </c:pt>
                <c:pt idx="1278">
                  <c:v>2677</c:v>
                </c:pt>
                <c:pt idx="1279">
                  <c:v>2536</c:v>
                </c:pt>
                <c:pt idx="1280">
                  <c:v>2270</c:v>
                </c:pt>
                <c:pt idx="1281">
                  <c:v>2441</c:v>
                </c:pt>
                <c:pt idx="1282">
                  <c:v>2468</c:v>
                </c:pt>
                <c:pt idx="1283">
                  <c:v>2539</c:v>
                </c:pt>
                <c:pt idx="1284">
                  <c:v>2413</c:v>
                </c:pt>
                <c:pt idx="1285">
                  <c:v>2321</c:v>
                </c:pt>
                <c:pt idx="1286">
                  <c:v>2643</c:v>
                </c:pt>
                <c:pt idx="1287">
                  <c:v>2674</c:v>
                </c:pt>
                <c:pt idx="1288">
                  <c:v>2598</c:v>
                </c:pt>
                <c:pt idx="1289">
                  <c:v>2672</c:v>
                </c:pt>
                <c:pt idx="1290">
                  <c:v>2540</c:v>
                </c:pt>
                <c:pt idx="1291">
                  <c:v>2292</c:v>
                </c:pt>
                <c:pt idx="1292">
                  <c:v>2426</c:v>
                </c:pt>
                <c:pt idx="1293">
                  <c:v>2547</c:v>
                </c:pt>
                <c:pt idx="1294">
                  <c:v>2436</c:v>
                </c:pt>
                <c:pt idx="1295">
                  <c:v>2531</c:v>
                </c:pt>
                <c:pt idx="1296">
                  <c:v>2691</c:v>
                </c:pt>
                <c:pt idx="1297">
                  <c:v>2366</c:v>
                </c:pt>
                <c:pt idx="1298">
                  <c:v>2391</c:v>
                </c:pt>
                <c:pt idx="1299">
                  <c:v>2516</c:v>
                </c:pt>
                <c:pt idx="1300">
                  <c:v>2582</c:v>
                </c:pt>
                <c:pt idx="1301">
                  <c:v>2633</c:v>
                </c:pt>
                <c:pt idx="1302">
                  <c:v>2382</c:v>
                </c:pt>
                <c:pt idx="1303">
                  <c:v>2673</c:v>
                </c:pt>
                <c:pt idx="1304">
                  <c:v>2482</c:v>
                </c:pt>
                <c:pt idx="1305">
                  <c:v>2717</c:v>
                </c:pt>
                <c:pt idx="1306">
                  <c:v>2869</c:v>
                </c:pt>
                <c:pt idx="1307">
                  <c:v>2714</c:v>
                </c:pt>
                <c:pt idx="1308">
                  <c:v>2906</c:v>
                </c:pt>
                <c:pt idx="1309">
                  <c:v>2760</c:v>
                </c:pt>
                <c:pt idx="1310">
                  <c:v>2843</c:v>
                </c:pt>
                <c:pt idx="1311">
                  <c:v>2822</c:v>
                </c:pt>
                <c:pt idx="1312">
                  <c:v>2853</c:v>
                </c:pt>
                <c:pt idx="1313">
                  <c:v>2671</c:v>
                </c:pt>
                <c:pt idx="1314">
                  <c:v>2949</c:v>
                </c:pt>
                <c:pt idx="1315">
                  <c:v>2676</c:v>
                </c:pt>
                <c:pt idx="1316">
                  <c:v>3072</c:v>
                </c:pt>
                <c:pt idx="1317">
                  <c:v>2574</c:v>
                </c:pt>
                <c:pt idx="1318">
                  <c:v>2830</c:v>
                </c:pt>
                <c:pt idx="1319">
                  <c:v>2860</c:v>
                </c:pt>
                <c:pt idx="1320">
                  <c:v>3150</c:v>
                </c:pt>
                <c:pt idx="1321">
                  <c:v>3110</c:v>
                </c:pt>
                <c:pt idx="1322">
                  <c:v>2855</c:v>
                </c:pt>
                <c:pt idx="1323">
                  <c:v>2854</c:v>
                </c:pt>
                <c:pt idx="1324">
                  <c:v>3027</c:v>
                </c:pt>
                <c:pt idx="1325">
                  <c:v>3234</c:v>
                </c:pt>
                <c:pt idx="1326">
                  <c:v>2958</c:v>
                </c:pt>
                <c:pt idx="1327">
                  <c:v>2753</c:v>
                </c:pt>
                <c:pt idx="1328">
                  <c:v>2999</c:v>
                </c:pt>
                <c:pt idx="1329">
                  <c:v>2778</c:v>
                </c:pt>
                <c:pt idx="1330">
                  <c:v>3032</c:v>
                </c:pt>
                <c:pt idx="1331">
                  <c:v>3034</c:v>
                </c:pt>
                <c:pt idx="1332">
                  <c:v>3101</c:v>
                </c:pt>
                <c:pt idx="1333">
                  <c:v>3168</c:v>
                </c:pt>
                <c:pt idx="1334">
                  <c:v>3189</c:v>
                </c:pt>
                <c:pt idx="1335">
                  <c:v>3436</c:v>
                </c:pt>
                <c:pt idx="1336">
                  <c:v>3438</c:v>
                </c:pt>
                <c:pt idx="1337">
                  <c:v>3276</c:v>
                </c:pt>
                <c:pt idx="1338">
                  <c:v>3829</c:v>
                </c:pt>
                <c:pt idx="1339">
                  <c:v>3744</c:v>
                </c:pt>
                <c:pt idx="1340">
                  <c:v>3838</c:v>
                </c:pt>
                <c:pt idx="1341">
                  <c:v>3939</c:v>
                </c:pt>
                <c:pt idx="1342">
                  <c:v>3615</c:v>
                </c:pt>
                <c:pt idx="1343">
                  <c:v>3669</c:v>
                </c:pt>
                <c:pt idx="1344">
                  <c:v>3400</c:v>
                </c:pt>
                <c:pt idx="1345">
                  <c:v>3500</c:v>
                </c:pt>
                <c:pt idx="1346">
                  <c:v>3706</c:v>
                </c:pt>
                <c:pt idx="1347">
                  <c:v>3390</c:v>
                </c:pt>
                <c:pt idx="1348">
                  <c:v>3887</c:v>
                </c:pt>
                <c:pt idx="1349">
                  <c:v>3700</c:v>
                </c:pt>
                <c:pt idx="1350">
                  <c:v>3907</c:v>
                </c:pt>
                <c:pt idx="1351">
                  <c:v>3383</c:v>
                </c:pt>
                <c:pt idx="1352">
                  <c:v>4047</c:v>
                </c:pt>
                <c:pt idx="1353">
                  <c:v>4088</c:v>
                </c:pt>
                <c:pt idx="1354">
                  <c:v>3901</c:v>
                </c:pt>
                <c:pt idx="1355">
                  <c:v>3779</c:v>
                </c:pt>
                <c:pt idx="1356">
                  <c:v>4086</c:v>
                </c:pt>
                <c:pt idx="1357">
                  <c:v>3834</c:v>
                </c:pt>
                <c:pt idx="1358">
                  <c:v>3957</c:v>
                </c:pt>
                <c:pt idx="1359">
                  <c:v>4101</c:v>
                </c:pt>
                <c:pt idx="1360">
                  <c:v>4383</c:v>
                </c:pt>
                <c:pt idx="1361">
                  <c:v>4501</c:v>
                </c:pt>
                <c:pt idx="1362">
                  <c:v>4728</c:v>
                </c:pt>
                <c:pt idx="1363">
                  <c:v>4220</c:v>
                </c:pt>
                <c:pt idx="1364">
                  <c:v>4163</c:v>
                </c:pt>
                <c:pt idx="1365">
                  <c:v>4138</c:v>
                </c:pt>
                <c:pt idx="1366">
                  <c:v>4092</c:v>
                </c:pt>
                <c:pt idx="1367">
                  <c:v>4451</c:v>
                </c:pt>
                <c:pt idx="1368">
                  <c:v>4590</c:v>
                </c:pt>
                <c:pt idx="1369">
                  <c:v>4464</c:v>
                </c:pt>
                <c:pt idx="1370">
                  <c:v>4605</c:v>
                </c:pt>
                <c:pt idx="1371">
                  <c:v>4691</c:v>
                </c:pt>
                <c:pt idx="1372">
                  <c:v>4918</c:v>
                </c:pt>
                <c:pt idx="1373">
                  <c:v>4382</c:v>
                </c:pt>
                <c:pt idx="1374">
                  <c:v>5083</c:v>
                </c:pt>
                <c:pt idx="1375">
                  <c:v>4571</c:v>
                </c:pt>
                <c:pt idx="1376">
                  <c:v>4632</c:v>
                </c:pt>
                <c:pt idx="1377">
                  <c:v>4736</c:v>
                </c:pt>
                <c:pt idx="1378">
                  <c:v>5219</c:v>
                </c:pt>
                <c:pt idx="1379">
                  <c:v>4967</c:v>
                </c:pt>
                <c:pt idx="1380">
                  <c:v>5318</c:v>
                </c:pt>
                <c:pt idx="1381">
                  <c:v>5025</c:v>
                </c:pt>
                <c:pt idx="1382">
                  <c:v>5191</c:v>
                </c:pt>
                <c:pt idx="1383">
                  <c:v>5365</c:v>
                </c:pt>
                <c:pt idx="1384">
                  <c:v>5370</c:v>
                </c:pt>
                <c:pt idx="1385">
                  <c:v>4949</c:v>
                </c:pt>
                <c:pt idx="1386">
                  <c:v>5399</c:v>
                </c:pt>
                <c:pt idx="1387">
                  <c:v>5306</c:v>
                </c:pt>
                <c:pt idx="1388">
                  <c:v>5789</c:v>
                </c:pt>
                <c:pt idx="1389">
                  <c:v>6016</c:v>
                </c:pt>
                <c:pt idx="1390">
                  <c:v>5714</c:v>
                </c:pt>
                <c:pt idx="1391">
                  <c:v>5919</c:v>
                </c:pt>
                <c:pt idx="1392">
                  <c:v>5424</c:v>
                </c:pt>
                <c:pt idx="1393">
                  <c:v>5744</c:v>
                </c:pt>
                <c:pt idx="1394">
                  <c:v>6428</c:v>
                </c:pt>
                <c:pt idx="1395">
                  <c:v>6224</c:v>
                </c:pt>
                <c:pt idx="1396">
                  <c:v>6228</c:v>
                </c:pt>
                <c:pt idx="1397">
                  <c:v>6097</c:v>
                </c:pt>
                <c:pt idx="1398">
                  <c:v>6305</c:v>
                </c:pt>
                <c:pt idx="1399">
                  <c:v>6477</c:v>
                </c:pt>
                <c:pt idx="1400">
                  <c:v>6330</c:v>
                </c:pt>
                <c:pt idx="1401">
                  <c:v>7040</c:v>
                </c:pt>
                <c:pt idx="1402">
                  <c:v>7212</c:v>
                </c:pt>
                <c:pt idx="1403">
                  <c:v>6943</c:v>
                </c:pt>
                <c:pt idx="1404">
                  <c:v>7185</c:v>
                </c:pt>
                <c:pt idx="1405">
                  <c:v>6506</c:v>
                </c:pt>
                <c:pt idx="1406">
                  <c:v>6648</c:v>
                </c:pt>
                <c:pt idx="1407">
                  <c:v>7039</c:v>
                </c:pt>
                <c:pt idx="1408">
                  <c:v>7570</c:v>
                </c:pt>
                <c:pt idx="1409">
                  <c:v>7130</c:v>
                </c:pt>
                <c:pt idx="1410">
                  <c:v>6864</c:v>
                </c:pt>
                <c:pt idx="1411">
                  <c:v>7087</c:v>
                </c:pt>
                <c:pt idx="1412">
                  <c:v>7334</c:v>
                </c:pt>
                <c:pt idx="1413">
                  <c:v>7446</c:v>
                </c:pt>
                <c:pt idx="1414">
                  <c:v>7183</c:v>
                </c:pt>
                <c:pt idx="1415">
                  <c:v>7885</c:v>
                </c:pt>
                <c:pt idx="1416">
                  <c:v>7851</c:v>
                </c:pt>
                <c:pt idx="1417">
                  <c:v>7910</c:v>
                </c:pt>
                <c:pt idx="1418">
                  <c:v>8042</c:v>
                </c:pt>
                <c:pt idx="1419">
                  <c:v>7989</c:v>
                </c:pt>
                <c:pt idx="1420">
                  <c:v>8166</c:v>
                </c:pt>
                <c:pt idx="1421">
                  <c:v>8212</c:v>
                </c:pt>
                <c:pt idx="1422">
                  <c:v>8238</c:v>
                </c:pt>
                <c:pt idx="1423">
                  <c:v>8414</c:v>
                </c:pt>
                <c:pt idx="1424">
                  <c:v>8876</c:v>
                </c:pt>
                <c:pt idx="1425">
                  <c:v>8828</c:v>
                </c:pt>
                <c:pt idx="1426">
                  <c:v>8542</c:v>
                </c:pt>
                <c:pt idx="1427">
                  <c:v>9004</c:v>
                </c:pt>
                <c:pt idx="1428">
                  <c:v>9141</c:v>
                </c:pt>
                <c:pt idx="1429">
                  <c:v>8598</c:v>
                </c:pt>
                <c:pt idx="1430">
                  <c:v>8854</c:v>
                </c:pt>
                <c:pt idx="1431">
                  <c:v>9334</c:v>
                </c:pt>
                <c:pt idx="1432">
                  <c:v>9104</c:v>
                </c:pt>
                <c:pt idx="1433">
                  <c:v>9577</c:v>
                </c:pt>
                <c:pt idx="1434">
                  <c:v>9667</c:v>
                </c:pt>
                <c:pt idx="1435">
                  <c:v>10199</c:v>
                </c:pt>
                <c:pt idx="1436">
                  <c:v>10037</c:v>
                </c:pt>
                <c:pt idx="1437">
                  <c:v>10272</c:v>
                </c:pt>
                <c:pt idx="1438">
                  <c:v>10032</c:v>
                </c:pt>
                <c:pt idx="1439">
                  <c:v>8970</c:v>
                </c:pt>
              </c:numCache>
            </c:numRef>
          </c:val>
          <c:smooth val="0"/>
        </c:ser>
        <c:dLbls>
          <c:showLegendKey val="0"/>
          <c:showVal val="0"/>
          <c:showCatName val="0"/>
          <c:showSerName val="0"/>
          <c:showPercent val="0"/>
          <c:showBubbleSize val="0"/>
        </c:dLbls>
        <c:smooth val="0"/>
        <c:axId val="135932824"/>
        <c:axId val="143044416"/>
      </c:lineChart>
      <c:catAx>
        <c:axId val="135932824"/>
        <c:scaling>
          <c:orientation val="minMax"/>
        </c:scaling>
        <c:delete val="0"/>
        <c:axPos val="b"/>
        <c:numFmt formatCode="h:mm;@" sourceLinked="0"/>
        <c:majorTickMark val="out"/>
        <c:minorTickMark val="none"/>
        <c:tickLblPos val="nextTo"/>
        <c:crossAx val="143044416"/>
        <c:crosses val="autoZero"/>
        <c:auto val="1"/>
        <c:lblAlgn val="ctr"/>
        <c:lblOffset val="100"/>
        <c:tickLblSkip val="180"/>
        <c:tickMarkSkip val="180"/>
        <c:noMultiLvlLbl val="0"/>
      </c:catAx>
      <c:valAx>
        <c:axId val="143044416"/>
        <c:scaling>
          <c:orientation val="minMax"/>
        </c:scaling>
        <c:delete val="1"/>
        <c:axPos val="l"/>
        <c:numFmt formatCode="_(* #,##0_);_(* \(#,##0\);_(* &quot;-&quot;??_);_(@_)" sourceLinked="1"/>
        <c:majorTickMark val="out"/>
        <c:minorTickMark val="none"/>
        <c:tickLblPos val="none"/>
        <c:crossAx val="135932824"/>
        <c:crosses val="autoZero"/>
        <c:crossBetween val="between"/>
      </c:valAx>
    </c:plotArea>
    <c:legend>
      <c:legendPos val="b"/>
      <c:layout>
        <c:manualLayout>
          <c:xMode val="edge"/>
          <c:yMode val="edge"/>
          <c:x val="0.37211714791347084"/>
          <c:y val="0.9367773772042487"/>
          <c:w val="0.25576570417305911"/>
          <c:h val="5.7248905739683748E-2"/>
        </c:manualLayout>
      </c:layout>
      <c:overlay val="0"/>
    </c:legend>
    <c:plotVisOnly val="1"/>
    <c:dispBlanksAs val="gap"/>
    <c:showDLblsOverMax val="0"/>
  </c:chart>
  <c:spPr>
    <a:ln w="15875" cmpd="dbl">
      <a:solidFill>
        <a:schemeClr val="tx2"/>
      </a:solidFill>
    </a:ln>
  </c:sp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908858267716534"/>
          <c:y val="2.5428331875182269E-2"/>
          <c:w val="0.81030774278215234"/>
          <c:h val="0.8416746864975212"/>
        </c:manualLayout>
      </c:layout>
      <c:areaChart>
        <c:grouping val="stacked"/>
        <c:varyColors val="0"/>
        <c:ser>
          <c:idx val="0"/>
          <c:order val="0"/>
          <c:tx>
            <c:strRef>
              <c:f>'Workload Adoption Model'!$C$90</c:f>
              <c:strCache>
                <c:ptCount val="1"/>
                <c:pt idx="0">
                  <c:v>Traditonal</c:v>
                </c:pt>
              </c:strCache>
            </c:strRef>
          </c:tx>
          <c:spPr>
            <a:solidFill>
              <a:schemeClr val="tx2"/>
            </a:solidFill>
            <a:ln>
              <a:solidFill>
                <a:schemeClr val="tx2"/>
              </a:solidFill>
            </a:ln>
            <a:effectLst>
              <a:innerShdw blurRad="114300">
                <a:schemeClr val="tx2">
                  <a:lumMod val="75000"/>
                </a:schemeClr>
              </a:innerShdw>
            </a:effectLst>
          </c:spPr>
          <c:cat>
            <c:numRef>
              <c:f>'Workload Adoption Model'!$D$96:$N$96</c:f>
              <c:numCache>
                <c:formatCode>General</c:formatCode>
                <c:ptCount val="11"/>
                <c:pt idx="0">
                  <c:v>2010</c:v>
                </c:pt>
                <c:pt idx="1">
                  <c:v>2011</c:v>
                </c:pt>
                <c:pt idx="2">
                  <c:v>2012</c:v>
                </c:pt>
                <c:pt idx="3">
                  <c:v>2013</c:v>
                </c:pt>
                <c:pt idx="4">
                  <c:v>2014</c:v>
                </c:pt>
                <c:pt idx="5">
                  <c:v>2015</c:v>
                </c:pt>
                <c:pt idx="6">
                  <c:v>2016</c:v>
                </c:pt>
                <c:pt idx="7">
                  <c:v>2017</c:v>
                </c:pt>
                <c:pt idx="8">
                  <c:v>2018</c:v>
                </c:pt>
                <c:pt idx="9">
                  <c:v>2019</c:v>
                </c:pt>
                <c:pt idx="10">
                  <c:v>2020</c:v>
                </c:pt>
              </c:numCache>
            </c:numRef>
          </c:cat>
          <c:val>
            <c:numRef>
              <c:f>'Workload Adoption Model'!$D$90:$N$90</c:f>
              <c:numCache>
                <c:formatCode>0%</c:formatCode>
                <c:ptCount val="11"/>
                <c:pt idx="0">
                  <c:v>0.88364596176913668</c:v>
                </c:pt>
                <c:pt idx="1">
                  <c:v>0.89477893664210506</c:v>
                </c:pt>
                <c:pt idx="2">
                  <c:v>0.87556696617554397</c:v>
                </c:pt>
                <c:pt idx="3">
                  <c:v>0.84916410724832503</c:v>
                </c:pt>
                <c:pt idx="4">
                  <c:v>0.81628964087771561</c:v>
                </c:pt>
                <c:pt idx="5">
                  <c:v>0.77085496391818276</c:v>
                </c:pt>
                <c:pt idx="6">
                  <c:v>0.71406213486725134</c:v>
                </c:pt>
                <c:pt idx="7">
                  <c:v>0.65281789517387123</c:v>
                </c:pt>
                <c:pt idx="8">
                  <c:v>0.58572691955408163</c:v>
                </c:pt>
                <c:pt idx="9">
                  <c:v>0.51367323350196803</c:v>
                </c:pt>
                <c:pt idx="10">
                  <c:v>0.43665001942949899</c:v>
                </c:pt>
              </c:numCache>
            </c:numRef>
          </c:val>
          <c:extLst>
            <c:ext xmlns:c16="http://schemas.microsoft.com/office/drawing/2014/chart" uri="{C3380CC4-5D6E-409C-BE32-E72D297353CC}">
              <c16:uniqueId val="{00000000-EFC4-4C9F-A07A-81CFA5AF1A28}"/>
            </c:ext>
          </c:extLst>
        </c:ser>
        <c:ser>
          <c:idx val="1"/>
          <c:order val="1"/>
          <c:tx>
            <c:strRef>
              <c:f>'Workload Adoption Model'!$C$91</c:f>
              <c:strCache>
                <c:ptCount val="1"/>
                <c:pt idx="0">
                  <c:v>Migrated to IaaS</c:v>
                </c:pt>
              </c:strCache>
            </c:strRef>
          </c:tx>
          <c:spPr>
            <a:solidFill>
              <a:schemeClr val="accent2"/>
            </a:solidFill>
            <a:ln>
              <a:noFill/>
            </a:ln>
            <a:effectLst>
              <a:innerShdw blurRad="114300">
                <a:schemeClr val="accent2">
                  <a:lumMod val="75000"/>
                </a:schemeClr>
              </a:innerShdw>
            </a:effectLst>
          </c:spPr>
          <c:cat>
            <c:numRef>
              <c:f>'Workload Adoption Model'!$D$96:$N$96</c:f>
              <c:numCache>
                <c:formatCode>General</c:formatCode>
                <c:ptCount val="11"/>
                <c:pt idx="0">
                  <c:v>2010</c:v>
                </c:pt>
                <c:pt idx="1">
                  <c:v>2011</c:v>
                </c:pt>
                <c:pt idx="2">
                  <c:v>2012</c:v>
                </c:pt>
                <c:pt idx="3">
                  <c:v>2013</c:v>
                </c:pt>
                <c:pt idx="4">
                  <c:v>2014</c:v>
                </c:pt>
                <c:pt idx="5">
                  <c:v>2015</c:v>
                </c:pt>
                <c:pt idx="6">
                  <c:v>2016</c:v>
                </c:pt>
                <c:pt idx="7">
                  <c:v>2017</c:v>
                </c:pt>
                <c:pt idx="8">
                  <c:v>2018</c:v>
                </c:pt>
                <c:pt idx="9">
                  <c:v>2019</c:v>
                </c:pt>
                <c:pt idx="10">
                  <c:v>2020</c:v>
                </c:pt>
              </c:numCache>
            </c:numRef>
          </c:cat>
          <c:val>
            <c:numRef>
              <c:f>'Workload Adoption Model'!$D$91:$N$91</c:f>
              <c:numCache>
                <c:formatCode>0%</c:formatCode>
                <c:ptCount val="11"/>
                <c:pt idx="0">
                  <c:v>1.1185391921128314E-2</c:v>
                </c:pt>
                <c:pt idx="1">
                  <c:v>2.8187187641243346E-2</c:v>
                </c:pt>
                <c:pt idx="2">
                  <c:v>4.8924904263015247E-2</c:v>
                </c:pt>
                <c:pt idx="3">
                  <c:v>7.1756526252422348E-2</c:v>
                </c:pt>
                <c:pt idx="4">
                  <c:v>9.5403563312879719E-2</c:v>
                </c:pt>
                <c:pt idx="5">
                  <c:v>0.11888751735912706</c:v>
                </c:pt>
                <c:pt idx="6">
                  <c:v>0.14466233112258584</c:v>
                </c:pt>
                <c:pt idx="7">
                  <c:v>0.16640448029722299</c:v>
                </c:pt>
                <c:pt idx="8">
                  <c:v>0.1844316323294222</c:v>
                </c:pt>
                <c:pt idx="9">
                  <c:v>0.19906135955555301</c:v>
                </c:pt>
                <c:pt idx="10">
                  <c:v>0.21060567037617284</c:v>
                </c:pt>
              </c:numCache>
            </c:numRef>
          </c:val>
          <c:extLst>
            <c:ext xmlns:c16="http://schemas.microsoft.com/office/drawing/2014/chart" uri="{C3380CC4-5D6E-409C-BE32-E72D297353CC}">
              <c16:uniqueId val="{00000001-EFC4-4C9F-A07A-81CFA5AF1A28}"/>
            </c:ext>
          </c:extLst>
        </c:ser>
        <c:ser>
          <c:idx val="2"/>
          <c:order val="2"/>
          <c:tx>
            <c:strRef>
              <c:f>'Workload Adoption Model'!$C$92</c:f>
              <c:strCache>
                <c:ptCount val="1"/>
                <c:pt idx="0">
                  <c:v>Replaced to Cloud</c:v>
                </c:pt>
              </c:strCache>
            </c:strRef>
          </c:tx>
          <c:spPr>
            <a:solidFill>
              <a:schemeClr val="accent4"/>
            </a:solidFill>
            <a:ln>
              <a:solidFill>
                <a:schemeClr val="accent5"/>
              </a:solidFill>
            </a:ln>
            <a:effectLst>
              <a:innerShdw blurRad="114300">
                <a:schemeClr val="accent4">
                  <a:lumMod val="75000"/>
                </a:schemeClr>
              </a:innerShdw>
            </a:effectLst>
          </c:spPr>
          <c:cat>
            <c:numRef>
              <c:f>'Workload Adoption Model'!$D$96:$N$96</c:f>
              <c:numCache>
                <c:formatCode>General</c:formatCode>
                <c:ptCount val="11"/>
                <c:pt idx="0">
                  <c:v>2010</c:v>
                </c:pt>
                <c:pt idx="1">
                  <c:v>2011</c:v>
                </c:pt>
                <c:pt idx="2">
                  <c:v>2012</c:v>
                </c:pt>
                <c:pt idx="3">
                  <c:v>2013</c:v>
                </c:pt>
                <c:pt idx="4">
                  <c:v>2014</c:v>
                </c:pt>
                <c:pt idx="5">
                  <c:v>2015</c:v>
                </c:pt>
                <c:pt idx="6">
                  <c:v>2016</c:v>
                </c:pt>
                <c:pt idx="7">
                  <c:v>2017</c:v>
                </c:pt>
                <c:pt idx="8">
                  <c:v>2018</c:v>
                </c:pt>
                <c:pt idx="9">
                  <c:v>2019</c:v>
                </c:pt>
                <c:pt idx="10">
                  <c:v>2020</c:v>
                </c:pt>
              </c:numCache>
            </c:numRef>
          </c:cat>
          <c:val>
            <c:numRef>
              <c:f>'Workload Adoption Model'!$D$92:$N$92</c:f>
              <c:numCache>
                <c:formatCode>0%</c:formatCode>
                <c:ptCount val="11"/>
                <c:pt idx="0">
                  <c:v>0.10516864630973502</c:v>
                </c:pt>
                <c:pt idx="1">
                  <c:v>0.12557080117387306</c:v>
                </c:pt>
                <c:pt idx="2">
                  <c:v>0.1514539054591264</c:v>
                </c:pt>
                <c:pt idx="3">
                  <c:v>0.18234098330041421</c:v>
                </c:pt>
                <c:pt idx="4">
                  <c:v>0.21766385282183628</c:v>
                </c:pt>
                <c:pt idx="5">
                  <c:v>0.25678066018074441</c:v>
                </c:pt>
                <c:pt idx="6">
                  <c:v>0.29988738189026121</c:v>
                </c:pt>
                <c:pt idx="7">
                  <c:v>0.34609481468550396</c:v>
                </c:pt>
                <c:pt idx="8">
                  <c:v>0.39448379839877656</c:v>
                </c:pt>
                <c:pt idx="9">
                  <c:v>0.44413612693007698</c:v>
                </c:pt>
                <c:pt idx="10">
                  <c:v>0.49416387550637009</c:v>
                </c:pt>
              </c:numCache>
            </c:numRef>
          </c:val>
          <c:extLst>
            <c:ext xmlns:c16="http://schemas.microsoft.com/office/drawing/2014/chart" uri="{C3380CC4-5D6E-409C-BE32-E72D297353CC}">
              <c16:uniqueId val="{00000002-EFC4-4C9F-A07A-81CFA5AF1A28}"/>
            </c:ext>
          </c:extLst>
        </c:ser>
        <c:ser>
          <c:idx val="3"/>
          <c:order val="3"/>
          <c:tx>
            <c:strRef>
              <c:f>'Workload Adoption Model'!$C$93</c:f>
              <c:strCache>
                <c:ptCount val="1"/>
                <c:pt idx="0">
                  <c:v>Net New Cloud</c:v>
                </c:pt>
              </c:strCache>
            </c:strRef>
          </c:tx>
          <c:spPr>
            <a:solidFill>
              <a:schemeClr val="accent6"/>
            </a:solidFill>
            <a:ln>
              <a:solidFill>
                <a:schemeClr val="accent6"/>
              </a:solidFill>
            </a:ln>
            <a:effectLst>
              <a:innerShdw blurRad="114300">
                <a:schemeClr val="accent6">
                  <a:lumMod val="75000"/>
                </a:schemeClr>
              </a:innerShdw>
            </a:effectLst>
          </c:spPr>
          <c:cat>
            <c:numRef>
              <c:f>'Workload Adoption Model'!$D$96:$N$96</c:f>
              <c:numCache>
                <c:formatCode>General</c:formatCode>
                <c:ptCount val="11"/>
                <c:pt idx="0">
                  <c:v>2010</c:v>
                </c:pt>
                <c:pt idx="1">
                  <c:v>2011</c:v>
                </c:pt>
                <c:pt idx="2">
                  <c:v>2012</c:v>
                </c:pt>
                <c:pt idx="3">
                  <c:v>2013</c:v>
                </c:pt>
                <c:pt idx="4">
                  <c:v>2014</c:v>
                </c:pt>
                <c:pt idx="5">
                  <c:v>2015</c:v>
                </c:pt>
                <c:pt idx="6">
                  <c:v>2016</c:v>
                </c:pt>
                <c:pt idx="7">
                  <c:v>2017</c:v>
                </c:pt>
                <c:pt idx="8">
                  <c:v>2018</c:v>
                </c:pt>
                <c:pt idx="9">
                  <c:v>2019</c:v>
                </c:pt>
                <c:pt idx="10">
                  <c:v>2020</c:v>
                </c:pt>
              </c:numCache>
            </c:numRef>
          </c:cat>
          <c:val>
            <c:numRef>
              <c:f>'Workload Adoption Model'!$D$93:$N$93</c:f>
              <c:numCache>
                <c:formatCode>0%</c:formatCode>
                <c:ptCount val="11"/>
                <c:pt idx="0">
                  <c:v>0</c:v>
                </c:pt>
                <c:pt idx="1">
                  <c:v>2.6135267553888519E-2</c:v>
                </c:pt>
                <c:pt idx="2">
                  <c:v>5.7385586179217588E-2</c:v>
                </c:pt>
                <c:pt idx="3">
                  <c:v>0.1022283435280579</c:v>
                </c:pt>
                <c:pt idx="4">
                  <c:v>0.17115676567820978</c:v>
                </c:pt>
                <c:pt idx="5">
                  <c:v>0.26130965991218097</c:v>
                </c:pt>
                <c:pt idx="6">
                  <c:v>0.3666084184817025</c:v>
                </c:pt>
                <c:pt idx="7">
                  <c:v>0.49184144044427364</c:v>
                </c:pt>
                <c:pt idx="8">
                  <c:v>0.62973675858676392</c:v>
                </c:pt>
                <c:pt idx="9">
                  <c:v>0.78609136396099411</c:v>
                </c:pt>
                <c:pt idx="10">
                  <c:v>0.96242885835870406</c:v>
                </c:pt>
              </c:numCache>
            </c:numRef>
          </c:val>
          <c:extLst>
            <c:ext xmlns:c16="http://schemas.microsoft.com/office/drawing/2014/chart" uri="{C3380CC4-5D6E-409C-BE32-E72D297353CC}">
              <c16:uniqueId val="{00000003-EFC4-4C9F-A07A-81CFA5AF1A28}"/>
            </c:ext>
          </c:extLst>
        </c:ser>
        <c:dLbls>
          <c:showLegendKey val="0"/>
          <c:showVal val="0"/>
          <c:showCatName val="0"/>
          <c:showSerName val="0"/>
          <c:showPercent val="0"/>
          <c:showBubbleSize val="0"/>
        </c:dLbls>
        <c:axId val="143045592"/>
        <c:axId val="143045984"/>
      </c:areaChart>
      <c:catAx>
        <c:axId val="143045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cap="none" spc="20" normalizeH="0" baseline="0">
                <a:solidFill>
                  <a:schemeClr val="tx1">
                    <a:lumMod val="65000"/>
                    <a:lumOff val="35000"/>
                  </a:schemeClr>
                </a:solidFill>
                <a:latin typeface="+mn-lt"/>
                <a:ea typeface="+mn-ea"/>
                <a:cs typeface="+mn-cs"/>
              </a:defRPr>
            </a:pPr>
            <a:endParaRPr lang="ru-RU"/>
          </a:p>
        </c:txPr>
        <c:crossAx val="143045984"/>
        <c:crosses val="autoZero"/>
        <c:auto val="1"/>
        <c:lblAlgn val="ctr"/>
        <c:lblOffset val="100"/>
        <c:noMultiLvlLbl val="0"/>
      </c:catAx>
      <c:valAx>
        <c:axId val="143045984"/>
        <c:scaling>
          <c:orientation val="minMax"/>
        </c:scaling>
        <c:delete val="0"/>
        <c:axPos val="l"/>
        <c:majorGridlines>
          <c:spPr>
            <a:ln w="9525" cap="flat" cmpd="sng" algn="ctr">
              <a:solidFill>
                <a:schemeClr val="tx1">
                  <a:lumMod val="5000"/>
                  <a:lumOff val="95000"/>
                </a:schemeClr>
              </a:solidFill>
              <a:round/>
            </a:ln>
            <a:effectLst/>
          </c:spPr>
        </c:majorGridlines>
        <c:title>
          <c:tx>
            <c:rich>
              <a:bodyPr rot="-5400000" spcFirstLastPara="1" vertOverflow="ellipsis" vert="horz" wrap="square" anchor="ctr" anchorCtr="1"/>
              <a:lstStyle/>
              <a:p>
                <a:pPr>
                  <a:defRPr sz="900" b="0" i="0" u="none" strike="noStrike" kern="1200" cap="all" baseline="0">
                    <a:solidFill>
                      <a:schemeClr val="tx1">
                        <a:lumMod val="65000"/>
                        <a:lumOff val="35000"/>
                      </a:schemeClr>
                    </a:solidFill>
                    <a:latin typeface="+mn-lt"/>
                    <a:ea typeface="+mn-ea"/>
                    <a:cs typeface="+mn-cs"/>
                  </a:defRPr>
                </a:pPr>
                <a:r>
                  <a:rPr lang="en-US" sz="1600" b="1" dirty="0"/>
                  <a:t>% of 2010 App Portfolio</a:t>
                </a:r>
              </a:p>
            </c:rich>
          </c:tx>
          <c:layout>
            <c:manualLayout>
              <c:xMode val="edge"/>
              <c:yMode val="edge"/>
              <c:x val="5.5555555555555558E-3"/>
              <c:y val="0.19270049577136192"/>
            </c:manualLayout>
          </c:layout>
          <c:overlay val="0"/>
          <c:spPr>
            <a:noFill/>
            <a:ln>
              <a:noFill/>
            </a:ln>
            <a:effectLst/>
          </c:spPr>
          <c:txPr>
            <a:bodyPr rot="-5400000" spcFirstLastPara="1" vertOverflow="ellipsis" vert="horz" wrap="square" anchor="ctr" anchorCtr="1"/>
            <a:lstStyle/>
            <a:p>
              <a:pPr>
                <a:defRPr sz="900" b="0" i="0" u="none" strike="noStrike" kern="1200" cap="all" baseline="0">
                  <a:solidFill>
                    <a:schemeClr val="tx1">
                      <a:lumMod val="65000"/>
                      <a:lumOff val="35000"/>
                    </a:schemeClr>
                  </a:solidFill>
                  <a:latin typeface="+mn-lt"/>
                  <a:ea typeface="+mn-ea"/>
                  <a:cs typeface="+mn-cs"/>
                </a:defRPr>
              </a:pPr>
              <a:endParaRPr lang="ru-RU"/>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spc="20" baseline="0">
                <a:solidFill>
                  <a:schemeClr val="tx1">
                    <a:lumMod val="65000"/>
                    <a:lumOff val="35000"/>
                  </a:schemeClr>
                </a:solidFill>
                <a:latin typeface="+mn-lt"/>
                <a:ea typeface="+mn-ea"/>
                <a:cs typeface="+mn-cs"/>
              </a:defRPr>
            </a:pPr>
            <a:endParaRPr lang="ru-RU"/>
          </a:p>
        </c:txPr>
        <c:crossAx val="143045592"/>
        <c:crosses val="autoZero"/>
        <c:crossBetween val="midCat"/>
      </c:valAx>
      <c:dTable>
        <c:showHorzBorder val="1"/>
        <c:showVertBorder val="1"/>
        <c:showOutline val="1"/>
        <c:showKeys val="1"/>
        <c:spPr>
          <a:noFill/>
          <a:ln w="9525">
            <a:solidFill>
              <a:schemeClr val="tx1">
                <a:lumMod val="15000"/>
                <a:lumOff val="85000"/>
              </a:schemeClr>
            </a:solidFill>
          </a:ln>
          <a:effectLst/>
        </c:spPr>
        <c:txPr>
          <a:bodyPr rot="0" spcFirstLastPara="1" vertOverflow="ellipsis" vert="horz" wrap="square" anchor="ctr" anchorCtr="1"/>
          <a:lstStyle/>
          <a:p>
            <a:pPr rtl="0">
              <a:defRPr sz="1200" b="0" i="0" u="none" strike="noStrike" kern="1200" baseline="0">
                <a:solidFill>
                  <a:schemeClr val="tx1">
                    <a:lumMod val="65000"/>
                    <a:lumOff val="35000"/>
                  </a:schemeClr>
                </a:solidFill>
                <a:latin typeface="+mn-lt"/>
                <a:ea typeface="+mn-ea"/>
                <a:cs typeface="+mn-cs"/>
              </a:defRPr>
            </a:pPr>
            <a:endParaRPr lang="ru-RU"/>
          </a:p>
        </c:txPr>
      </c:dTable>
      <c:spPr>
        <a:noFill/>
        <a:ln>
          <a:noFill/>
        </a:ln>
        <a:effectLst/>
      </c:spPr>
    </c:plotArea>
    <c:plotVisOnly val="1"/>
    <c:dispBlanksAs val="zero"/>
    <c:showDLblsOverMax val="0"/>
  </c:chart>
  <c:spPr>
    <a:noFill/>
    <a:ln>
      <a:noFill/>
    </a:ln>
    <a:effectLst/>
  </c:spPr>
  <c:txPr>
    <a:bodyPr/>
    <a:lstStyle/>
    <a:p>
      <a:pPr>
        <a:defRPr/>
      </a:pPr>
      <a:endParaRPr lang="ru-RU"/>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84">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ap="none" spc="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cs:styleClr val="auto">
        <a:lumMod val="50000"/>
      </cs:styleClr>
    </cs:fontRef>
    <cs:defRPr sz="1000" b="1"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tx1"/>
    </cs:fontRef>
    <cs:spPr>
      <a:solidFill>
        <a:schemeClr val="phClr">
          <a:alpha val="74000"/>
        </a:schemeClr>
      </a:solidFill>
      <a:effectLst>
        <a:innerShdw blurRad="114300">
          <a:schemeClr val="phClr">
            <a:lumMod val="75000"/>
          </a:schemeClr>
        </a:innerShdw>
      </a:effectLst>
    </cs:spPr>
  </cs:dataPoint>
  <cs:dataPoint3D>
    <cs:lnRef idx="0"/>
    <cs:fillRef idx="0">
      <cs:styleClr val="auto"/>
    </cs:fillRef>
    <cs:effectRef idx="0">
      <cs:styleClr val="auto"/>
    </cs:effectRef>
    <cs:fontRef idx="minor">
      <a:schemeClr val="tx1"/>
    </cs:fontRef>
    <cs:spPr>
      <a:solidFill>
        <a:schemeClr val="phClr">
          <a:alpha val="74000"/>
        </a:schemeClr>
      </a:solidFill>
      <a:effectLst>
        <a:innerShdw blurRad="114300">
          <a:schemeClr val="phClr">
            <a:lumMod val="75000"/>
          </a:schemeClr>
        </a:innerShdw>
      </a:effectLst>
    </cs:spPr>
  </cs:dataPoint3D>
  <cs:dataPointLine>
    <cs:lnRef idx="0">
      <cs:styleClr val="auto"/>
    </cs:lnRef>
    <cs:fillRef idx="0"/>
    <cs:effectRef idx="0"/>
    <cs:fontRef idx="minor">
      <a:schemeClr val="dk1"/>
    </cs:fontRef>
    <cs:spPr>
      <a:ln w="28575" cap="rnd">
        <a:solidFill>
          <a:schemeClr val="phClr">
            <a:alpha val="70000"/>
          </a:schemeClr>
        </a:solidFill>
        <a:round/>
      </a:ln>
    </cs:spPr>
  </cs:dataPointLine>
  <cs:dataPointMarker>
    <cs:lnRef idx="0"/>
    <cs:fillRef idx="0">
      <cs:styleClr val="auto"/>
    </cs:fillRef>
    <cs:effectRef idx="0"/>
    <cs:fontRef idx="minor">
      <a:schemeClr val="dk1"/>
    </cs:fontRef>
    <cs:spPr>
      <a:solidFill>
        <a:schemeClr val="phClr">
          <a:alpha val="70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65000"/>
            <a:lumOff val="35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5000"/>
            <a:lumOff val="9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800" b="1" kern="1200" cap="all" spc="50" baseline="0"/>
  </cs:title>
  <cs:trendline>
    <cs:lnRef idx="0">
      <cs:styleClr val="auto"/>
    </cs:lnRef>
    <cs:fillRef idx="0"/>
    <cs:effectRef idx="0"/>
    <cs:fontRef idx="minor">
      <a:schemeClr val="dk1"/>
    </cs:fontRef>
    <cs:spPr>
      <a:ln w="15875"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900" kern="1200" spc="20" baseline="0"/>
  </cs:valueAxis>
  <cs:wall>
    <cs:lnRef idx="0"/>
    <cs:fillRef idx="0"/>
    <cs:effectRef idx="0"/>
    <cs:fontRef idx="minor">
      <a:schemeClr val="dk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2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ru-RU"/>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8DD657D-9A86-4ADA-AC9D-7A11CF36D20B}" type="datetimeFigureOut">
              <a:rPr lang="ru-RU" smtClean="0"/>
              <a:t>22.04.2015</a:t>
            </a:fld>
            <a:endParaRPr lang="ru-RU"/>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ru-RU"/>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5536D45-F5D9-4EAB-B375-9C5024948C44}" type="slidenum">
              <a:rPr lang="ru-RU" smtClean="0"/>
              <a:t>‹#›</a:t>
            </a:fld>
            <a:endParaRPr lang="ru-RU"/>
          </a:p>
        </p:txBody>
      </p:sp>
    </p:spTree>
    <p:extLst>
      <p:ext uri="{BB962C8B-B14F-4D97-AF65-F5344CB8AC3E}">
        <p14:creationId xmlns:p14="http://schemas.microsoft.com/office/powerpoint/2010/main" val="244658507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ru-R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97D34E4-998E-42CE-B062-BC8B5973F56E}" type="datetimeFigureOut">
              <a:rPr lang="ru-RU" smtClean="0"/>
              <a:t>22.04.2015</a:t>
            </a:fld>
            <a:endParaRPr lang="ru-R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ru-R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ru-R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D3C950F-5AD8-4354-AE3A-C7B3A1479461}" type="slidenum">
              <a:rPr lang="ru-RU" smtClean="0"/>
              <a:t>‹#›</a:t>
            </a:fld>
            <a:endParaRPr lang="ru-RU"/>
          </a:p>
        </p:txBody>
      </p:sp>
    </p:spTree>
    <p:extLst>
      <p:ext uri="{BB962C8B-B14F-4D97-AF65-F5344CB8AC3E}">
        <p14:creationId xmlns:p14="http://schemas.microsoft.com/office/powerpoint/2010/main" val="53119578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686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smtClean="0"/>
          </a:p>
        </p:txBody>
      </p:sp>
    </p:spTree>
    <p:extLst>
      <p:ext uri="{BB962C8B-B14F-4D97-AF65-F5344CB8AC3E}">
        <p14:creationId xmlns:p14="http://schemas.microsoft.com/office/powerpoint/2010/main" val="77091025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8B263312-38AA-4E1E-B2B5-0F8F122B24FE}" type="slidenum">
              <a:rPr lang="en-US" smtClean="0">
                <a:solidFill>
                  <a:prstClr val="black"/>
                </a:solidFill>
              </a:rPr>
              <a:pPr/>
              <a:t>18</a:t>
            </a:fld>
            <a:endParaRPr lang="en-US" dirty="0">
              <a:solidFill>
                <a:prstClr val="black"/>
              </a:solidFill>
            </a:endParaRPr>
          </a:p>
        </p:txBody>
      </p:sp>
      <p:sp>
        <p:nvSpPr>
          <p:cNvPr id="10" name="Slide Image Placeholder 9"/>
          <p:cNvSpPr>
            <a:spLocks noGrp="1" noRot="1" noChangeAspect="1"/>
          </p:cNvSpPr>
          <p:nvPr>
            <p:ph type="sldImg"/>
          </p:nvPr>
        </p:nvSpPr>
        <p:spPr/>
      </p:sp>
      <p:sp>
        <p:nvSpPr>
          <p:cNvPr id="11" name="Notes Placeholder 10"/>
          <p:cNvSpPr>
            <a:spLocks noGrp="1"/>
          </p:cNvSpPr>
          <p:nvPr>
            <p:ph type="body" idx="1"/>
          </p:nvPr>
        </p:nvSpPr>
        <p:spPr/>
        <p:txBody>
          <a:bodyPr/>
          <a:lstStyle/>
          <a:p>
            <a:endParaRPr lang="en-US"/>
          </a:p>
        </p:txBody>
      </p:sp>
      <p:sp>
        <p:nvSpPr>
          <p:cNvPr id="16" name="Date Placeholder 15"/>
          <p:cNvSpPr>
            <a:spLocks noGrp="1"/>
          </p:cNvSpPr>
          <p:nvPr>
            <p:ph type="dt" idx="13"/>
          </p:nvPr>
        </p:nvSpPr>
        <p:spPr/>
        <p:txBody>
          <a:bodyPr/>
          <a:lstStyle/>
          <a:p>
            <a:fld id="{8453B4A1-23F0-4EA8-922A-C21006FB5AB3}" type="datetime1">
              <a:rPr lang="en-US" smtClean="0">
                <a:solidFill>
                  <a:prstClr val="black"/>
                </a:solidFill>
              </a:rPr>
              <a:pPr/>
              <a:t>4/22/2015</a:t>
            </a:fld>
            <a:endParaRPr lang="en-US" dirty="0">
              <a:solidFill>
                <a:prstClr val="black"/>
              </a:solidFill>
            </a:endParaRPr>
          </a:p>
        </p:txBody>
      </p:sp>
      <p:sp>
        <p:nvSpPr>
          <p:cNvPr id="4" name="Footer Placeholder 3"/>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36487643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8B263312-38AA-4E1E-B2B5-0F8F122B24FE}" type="slidenum">
              <a:rPr lang="en-US" smtClean="0">
                <a:solidFill>
                  <a:prstClr val="black"/>
                </a:solidFill>
              </a:rPr>
              <a:pPr/>
              <a:t>19</a:t>
            </a:fld>
            <a:endParaRPr lang="en-US" dirty="0">
              <a:solidFill>
                <a:prstClr val="black"/>
              </a:solidFill>
            </a:endParaRPr>
          </a:p>
        </p:txBody>
      </p:sp>
      <p:sp>
        <p:nvSpPr>
          <p:cNvPr id="10" name="Slide Image Placeholder 9"/>
          <p:cNvSpPr>
            <a:spLocks noGrp="1" noRot="1" noChangeAspect="1"/>
          </p:cNvSpPr>
          <p:nvPr>
            <p:ph type="sldImg"/>
          </p:nvPr>
        </p:nvSpPr>
        <p:spPr/>
      </p:sp>
      <p:sp>
        <p:nvSpPr>
          <p:cNvPr id="11" name="Notes Placeholder 10"/>
          <p:cNvSpPr>
            <a:spLocks noGrp="1"/>
          </p:cNvSpPr>
          <p:nvPr>
            <p:ph type="body" idx="1"/>
          </p:nvPr>
        </p:nvSpPr>
        <p:spPr/>
        <p:txBody>
          <a:bodyPr/>
          <a:lstStyle/>
          <a:p>
            <a:endParaRPr lang="en-US"/>
          </a:p>
        </p:txBody>
      </p:sp>
      <p:sp>
        <p:nvSpPr>
          <p:cNvPr id="16" name="Date Placeholder 15"/>
          <p:cNvSpPr>
            <a:spLocks noGrp="1"/>
          </p:cNvSpPr>
          <p:nvPr>
            <p:ph type="dt" idx="13"/>
          </p:nvPr>
        </p:nvSpPr>
        <p:spPr/>
        <p:txBody>
          <a:bodyPr/>
          <a:lstStyle/>
          <a:p>
            <a:fld id="{8453B4A1-23F0-4EA8-922A-C21006FB5AB3}" type="datetime1">
              <a:rPr lang="en-US" smtClean="0">
                <a:solidFill>
                  <a:prstClr val="black"/>
                </a:solidFill>
              </a:rPr>
              <a:pPr/>
              <a:t>4/22/2015</a:t>
            </a:fld>
            <a:endParaRPr lang="en-US" dirty="0">
              <a:solidFill>
                <a:prstClr val="black"/>
              </a:solidFill>
            </a:endParaRPr>
          </a:p>
        </p:txBody>
      </p:sp>
      <p:sp>
        <p:nvSpPr>
          <p:cNvPr id="4" name="Footer Placeholder 3"/>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37226036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ustomers are enterprises (mostly</a:t>
            </a:r>
            <a:r>
              <a:rPr lang="en-US" baseline="0" dirty="0" smtClean="0"/>
              <a:t> .com) agencies, Microsoft. A lot of traction on CMS and WP. </a:t>
            </a:r>
          </a:p>
          <a:p>
            <a:r>
              <a:rPr lang="en-US" baseline="0" dirty="0" smtClean="0"/>
              <a:t>Car companies do digital marketing campaigns, MSFT does blogs. </a:t>
            </a:r>
          </a:p>
          <a:p>
            <a:r>
              <a:rPr lang="en-US" baseline="0" dirty="0" smtClean="0"/>
              <a:t>MSIT looking at using Hybrid Connections for business apps. Good traction with Nordstrom on e-commerce </a:t>
            </a:r>
            <a:endParaRPr lang="en-US" dirty="0" smtClean="0"/>
          </a:p>
          <a:p>
            <a:endParaRPr lang="en-US" dirty="0"/>
          </a:p>
        </p:txBody>
      </p:sp>
      <p:sp>
        <p:nvSpPr>
          <p:cNvPr id="4" name="Slide Number Placeholder 3"/>
          <p:cNvSpPr>
            <a:spLocks noGrp="1"/>
          </p:cNvSpPr>
          <p:nvPr>
            <p:ph type="sldNum" sz="quarter" idx="10"/>
          </p:nvPr>
        </p:nvSpPr>
        <p:spPr/>
        <p:txBody>
          <a:bodyPr/>
          <a:lstStyle/>
          <a:p>
            <a:fld id="{6D581EC0-6C77-47EF-A5F1-48F7DF3073C0}" type="slidenum">
              <a:rPr lang="en-US" smtClean="0">
                <a:solidFill>
                  <a:prstClr val="black"/>
                </a:solidFill>
              </a:rPr>
              <a:pPr/>
              <a:t>22</a:t>
            </a:fld>
            <a:endParaRPr lang="en-US">
              <a:solidFill>
                <a:prstClr val="black"/>
              </a:solidFill>
            </a:endParaRPr>
          </a:p>
        </p:txBody>
      </p:sp>
    </p:spTree>
    <p:extLst>
      <p:ext uri="{BB962C8B-B14F-4D97-AF65-F5344CB8AC3E}">
        <p14:creationId xmlns:p14="http://schemas.microsoft.com/office/powerpoint/2010/main" val="2209066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smtClean="0"/>
              <a:t>1,000</a:t>
            </a:r>
            <a:r>
              <a:rPr lang="en-US" baseline="0" dirty="0" smtClean="0"/>
              <a:t> new customers per day</a:t>
            </a:r>
          </a:p>
          <a:p>
            <a:pPr marL="171450" indent="-171450">
              <a:buFontTx/>
              <a:buChar char="-"/>
            </a:pPr>
            <a:r>
              <a:rPr lang="en-US" baseline="0" dirty="0" smtClean="0"/>
              <a:t>1,000,000 cores milestone achieved September last year</a:t>
            </a:r>
          </a:p>
          <a:p>
            <a:pPr marL="171450" indent="-171450">
              <a:buFontTx/>
              <a:buChar char="-"/>
            </a:pPr>
            <a:r>
              <a:rPr lang="en-US" baseline="0" dirty="0" smtClean="0"/>
              <a:t>1.6 </a:t>
            </a:r>
            <a:r>
              <a:rPr lang="en-US" baseline="0" dirty="0" err="1" smtClean="0"/>
              <a:t>Hexabyte</a:t>
            </a:r>
            <a:r>
              <a:rPr lang="en-US" baseline="0" dirty="0" smtClean="0"/>
              <a:t> milestones achieved at the end of last year</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val="97458039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smtClean="0"/>
              <a:t>1,000</a:t>
            </a:r>
            <a:r>
              <a:rPr lang="en-US" baseline="0" dirty="0" smtClean="0"/>
              <a:t> new customers per day</a:t>
            </a:r>
          </a:p>
          <a:p>
            <a:pPr marL="171450" indent="-171450">
              <a:buFontTx/>
              <a:buChar char="-"/>
            </a:pPr>
            <a:r>
              <a:rPr lang="en-US" baseline="0" dirty="0" smtClean="0"/>
              <a:t>1,000,000 cores milestone achieved September last year</a:t>
            </a:r>
          </a:p>
          <a:p>
            <a:pPr marL="171450" indent="-171450">
              <a:buFontTx/>
              <a:buChar char="-"/>
            </a:pPr>
            <a:r>
              <a:rPr lang="en-US" baseline="0" dirty="0" smtClean="0"/>
              <a:t>1.6 </a:t>
            </a:r>
            <a:r>
              <a:rPr lang="en-US" baseline="0" dirty="0" err="1" smtClean="0"/>
              <a:t>Hexabyte</a:t>
            </a:r>
            <a:r>
              <a:rPr lang="en-US" baseline="0" dirty="0" smtClean="0"/>
              <a:t> milestones achieved at the end of last year</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val="171729379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smtClean="0"/>
              <a:t>1,000</a:t>
            </a:r>
            <a:r>
              <a:rPr lang="en-US" baseline="0" dirty="0" smtClean="0"/>
              <a:t> new customers per day</a:t>
            </a:r>
          </a:p>
          <a:p>
            <a:pPr marL="171450" indent="-171450">
              <a:buFontTx/>
              <a:buChar char="-"/>
            </a:pPr>
            <a:r>
              <a:rPr lang="en-US" baseline="0" dirty="0" smtClean="0"/>
              <a:t>1,000,000 cores milestone achieved September last year</a:t>
            </a:r>
          </a:p>
          <a:p>
            <a:pPr marL="171450" indent="-171450">
              <a:buFontTx/>
              <a:buChar char="-"/>
            </a:pPr>
            <a:r>
              <a:rPr lang="en-US" baseline="0" dirty="0" smtClean="0"/>
              <a:t>1.6 </a:t>
            </a:r>
            <a:r>
              <a:rPr lang="en-US" baseline="0" dirty="0" err="1" smtClean="0"/>
              <a:t>Hexabyte</a:t>
            </a:r>
            <a:r>
              <a:rPr lang="en-US" baseline="0" dirty="0" smtClean="0"/>
              <a:t> milestones achieved at the end of last year</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5</a:t>
            </a:fld>
            <a:endParaRPr lang="en-US" dirty="0">
              <a:solidFill>
                <a:prstClr val="black"/>
              </a:solidFill>
            </a:endParaRPr>
          </a:p>
        </p:txBody>
      </p:sp>
    </p:spTree>
    <p:extLst>
      <p:ext uri="{BB962C8B-B14F-4D97-AF65-F5344CB8AC3E}">
        <p14:creationId xmlns:p14="http://schemas.microsoft.com/office/powerpoint/2010/main" val="271009455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smtClean="0"/>
              <a:t>1,000</a:t>
            </a:r>
            <a:r>
              <a:rPr lang="en-US" baseline="0" dirty="0" smtClean="0"/>
              <a:t> new customers per day</a:t>
            </a:r>
          </a:p>
          <a:p>
            <a:pPr marL="171450" indent="-171450">
              <a:buFontTx/>
              <a:buChar char="-"/>
            </a:pPr>
            <a:r>
              <a:rPr lang="en-US" baseline="0" dirty="0" smtClean="0"/>
              <a:t>1,000,000 cores milestone achieved September last year</a:t>
            </a:r>
          </a:p>
          <a:p>
            <a:pPr marL="171450" indent="-171450">
              <a:buFontTx/>
              <a:buChar char="-"/>
            </a:pPr>
            <a:r>
              <a:rPr lang="en-US" baseline="0" dirty="0" smtClean="0"/>
              <a:t>1.6 </a:t>
            </a:r>
            <a:r>
              <a:rPr lang="en-US" baseline="0" dirty="0" err="1" smtClean="0"/>
              <a:t>Hexabyte</a:t>
            </a:r>
            <a:r>
              <a:rPr lang="en-US" baseline="0" dirty="0" smtClean="0"/>
              <a:t> milestones achieved at the end of last year</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7</a:t>
            </a:fld>
            <a:endParaRPr lang="en-US" dirty="0">
              <a:solidFill>
                <a:prstClr val="black"/>
              </a:solidFill>
            </a:endParaRPr>
          </a:p>
        </p:txBody>
      </p:sp>
    </p:spTree>
    <p:extLst>
      <p:ext uri="{BB962C8B-B14F-4D97-AF65-F5344CB8AC3E}">
        <p14:creationId xmlns:p14="http://schemas.microsoft.com/office/powerpoint/2010/main" val="69247085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smtClean="0"/>
              <a:t>1,000</a:t>
            </a:r>
            <a:r>
              <a:rPr lang="en-US" baseline="0" dirty="0" smtClean="0"/>
              <a:t> new customers per day</a:t>
            </a:r>
          </a:p>
          <a:p>
            <a:pPr marL="171450" indent="-171450">
              <a:buFontTx/>
              <a:buChar char="-"/>
            </a:pPr>
            <a:r>
              <a:rPr lang="en-US" baseline="0" dirty="0" smtClean="0"/>
              <a:t>1,000,000 cores milestone achieved September last year</a:t>
            </a:r>
          </a:p>
          <a:p>
            <a:pPr marL="171450" indent="-171450">
              <a:buFontTx/>
              <a:buChar char="-"/>
            </a:pPr>
            <a:r>
              <a:rPr lang="en-US" baseline="0" dirty="0" smtClean="0"/>
              <a:t>1.6 </a:t>
            </a:r>
            <a:r>
              <a:rPr lang="en-US" baseline="0" dirty="0" err="1" smtClean="0"/>
              <a:t>Hexabyte</a:t>
            </a:r>
            <a:r>
              <a:rPr lang="en-US" baseline="0" dirty="0" smtClean="0"/>
              <a:t> milestones achieved at the end of last year</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50</a:t>
            </a:fld>
            <a:endParaRPr lang="en-US" dirty="0">
              <a:solidFill>
                <a:prstClr val="black"/>
              </a:solidFill>
            </a:endParaRPr>
          </a:p>
        </p:txBody>
      </p:sp>
    </p:spTree>
    <p:extLst>
      <p:ext uri="{BB962C8B-B14F-4D97-AF65-F5344CB8AC3E}">
        <p14:creationId xmlns:p14="http://schemas.microsoft.com/office/powerpoint/2010/main" val="29936721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smtClean="0"/>
              <a:t>1,000</a:t>
            </a:r>
            <a:r>
              <a:rPr lang="en-US" baseline="0" dirty="0" smtClean="0"/>
              <a:t> new customers per day</a:t>
            </a:r>
          </a:p>
          <a:p>
            <a:pPr marL="171450" indent="-171450">
              <a:buFontTx/>
              <a:buChar char="-"/>
            </a:pPr>
            <a:r>
              <a:rPr lang="en-US" baseline="0" dirty="0" smtClean="0"/>
              <a:t>1,000,000 cores milestone achieved September last year</a:t>
            </a:r>
          </a:p>
          <a:p>
            <a:pPr marL="171450" indent="-171450">
              <a:buFontTx/>
              <a:buChar char="-"/>
            </a:pPr>
            <a:r>
              <a:rPr lang="en-US" baseline="0" dirty="0" smtClean="0"/>
              <a:t>1.6 </a:t>
            </a:r>
            <a:r>
              <a:rPr lang="en-US" baseline="0" dirty="0" err="1" smtClean="0"/>
              <a:t>Hexabyte</a:t>
            </a:r>
            <a:r>
              <a:rPr lang="en-US" baseline="0" dirty="0" smtClean="0"/>
              <a:t> milestones achieved at the end of last year</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53</a:t>
            </a:fld>
            <a:endParaRPr lang="en-US" dirty="0">
              <a:solidFill>
                <a:prstClr val="black"/>
              </a:solidFill>
            </a:endParaRPr>
          </a:p>
        </p:txBody>
      </p:sp>
    </p:spTree>
    <p:extLst>
      <p:ext uri="{BB962C8B-B14F-4D97-AF65-F5344CB8AC3E}">
        <p14:creationId xmlns:p14="http://schemas.microsoft.com/office/powerpoint/2010/main" val="192409507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smtClean="0"/>
              <a:t>1,000</a:t>
            </a:r>
            <a:r>
              <a:rPr lang="en-US" baseline="0" dirty="0" smtClean="0"/>
              <a:t> new customers per day</a:t>
            </a:r>
          </a:p>
          <a:p>
            <a:pPr marL="171450" indent="-171450">
              <a:buFontTx/>
              <a:buChar char="-"/>
            </a:pPr>
            <a:r>
              <a:rPr lang="en-US" baseline="0" dirty="0" smtClean="0"/>
              <a:t>1,000,000 cores milestone achieved September last year</a:t>
            </a:r>
          </a:p>
          <a:p>
            <a:pPr marL="171450" indent="-171450">
              <a:buFontTx/>
              <a:buChar char="-"/>
            </a:pPr>
            <a:r>
              <a:rPr lang="en-US" baseline="0" dirty="0" smtClean="0"/>
              <a:t>1.6 </a:t>
            </a:r>
            <a:r>
              <a:rPr lang="en-US" baseline="0" dirty="0" err="1" smtClean="0"/>
              <a:t>Hexabyte</a:t>
            </a:r>
            <a:r>
              <a:rPr lang="en-US" baseline="0" dirty="0" smtClean="0"/>
              <a:t> milestones achieved at the end of last year</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55</a:t>
            </a:fld>
            <a:endParaRPr lang="en-US" dirty="0">
              <a:solidFill>
                <a:prstClr val="black"/>
              </a:solidFill>
            </a:endParaRPr>
          </a:p>
        </p:txBody>
      </p:sp>
    </p:spTree>
    <p:extLst>
      <p:ext uri="{BB962C8B-B14F-4D97-AF65-F5344CB8AC3E}">
        <p14:creationId xmlns:p14="http://schemas.microsoft.com/office/powerpoint/2010/main" val="19414588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686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smtClean="0"/>
          </a:p>
        </p:txBody>
      </p:sp>
    </p:spTree>
    <p:extLst>
      <p:ext uri="{BB962C8B-B14F-4D97-AF65-F5344CB8AC3E}">
        <p14:creationId xmlns:p14="http://schemas.microsoft.com/office/powerpoint/2010/main" val="137069488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oday</a:t>
            </a:r>
            <a:r>
              <a:rPr lang="en-US" baseline="0" dirty="0" smtClean="0"/>
              <a:t> Azure can be purchased either directly from Microsoft.com, or with an EA.</a:t>
            </a:r>
          </a:p>
          <a:p>
            <a:endParaRPr lang="en-US" baseline="0" dirty="0" smtClean="0"/>
          </a:p>
          <a:p>
            <a:r>
              <a:rPr lang="en-US" baseline="0" dirty="0" smtClean="0"/>
              <a:t>When Azure is available in Open, there will be another option available, and one that is familiar to tens of thousands of partners.</a:t>
            </a:r>
          </a:p>
          <a:p>
            <a:endParaRPr lang="en-US" baseline="0" dirty="0" smtClean="0"/>
          </a:p>
          <a:p>
            <a:r>
              <a:rPr lang="en-US" baseline="0" dirty="0" smtClean="0"/>
              <a:t>Each purchasing path has advantages and will be right for different types of partners and customers. Open is simply another option that has the benefits we discussed on the previous slide. </a:t>
            </a: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107B766D-34D2-4976-A3DD-B0EB46A9EE99}" type="datetime8">
              <a:rPr lang="en-US" smtClean="0">
                <a:solidFill>
                  <a:prstClr val="black"/>
                </a:solidFill>
              </a:rPr>
              <a:pPr/>
              <a:t>4/22/2015 9:48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6</a:t>
            </a:fld>
            <a:endParaRPr lang="en-US" dirty="0">
              <a:solidFill>
                <a:prstClr val="black"/>
              </a:solidFill>
            </a:endParaRPr>
          </a:p>
        </p:txBody>
      </p:sp>
    </p:spTree>
    <p:extLst>
      <p:ext uri="{BB962C8B-B14F-4D97-AF65-F5344CB8AC3E}">
        <p14:creationId xmlns:p14="http://schemas.microsoft.com/office/powerpoint/2010/main" val="316522798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4/22/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58</a:t>
            </a:fld>
            <a:endParaRPr lang="en-US" dirty="0">
              <a:solidFill>
                <a:prstClr val="black"/>
              </a:solidFill>
            </a:endParaRPr>
          </a:p>
        </p:txBody>
      </p:sp>
    </p:spTree>
    <p:extLst>
      <p:ext uri="{BB962C8B-B14F-4D97-AF65-F5344CB8AC3E}">
        <p14:creationId xmlns:p14="http://schemas.microsoft.com/office/powerpoint/2010/main" val="234569547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4/22/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59</a:t>
            </a:fld>
            <a:endParaRPr lang="en-US" dirty="0">
              <a:solidFill>
                <a:prstClr val="black"/>
              </a:solidFill>
            </a:endParaRPr>
          </a:p>
        </p:txBody>
      </p:sp>
    </p:spTree>
    <p:extLst>
      <p:ext uri="{BB962C8B-B14F-4D97-AF65-F5344CB8AC3E}">
        <p14:creationId xmlns:p14="http://schemas.microsoft.com/office/powerpoint/2010/main" val="179560755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4/22/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60</a:t>
            </a:fld>
            <a:endParaRPr lang="en-US" dirty="0">
              <a:solidFill>
                <a:prstClr val="black"/>
              </a:solidFill>
            </a:endParaRPr>
          </a:p>
        </p:txBody>
      </p:sp>
    </p:spTree>
    <p:extLst>
      <p:ext uri="{BB962C8B-B14F-4D97-AF65-F5344CB8AC3E}">
        <p14:creationId xmlns:p14="http://schemas.microsoft.com/office/powerpoint/2010/main" val="7559224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4/22/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12966940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29" eaLnBrk="0" hangingPunct="0">
              <a:defRPr/>
            </a:pPr>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defRPr/>
            </a:pPr>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50A28030-5D59-4E14-AFE9-B93D391AF3AF}" type="datetime1">
              <a:rPr lang="en-US" smtClean="0">
                <a:solidFill>
                  <a:prstClr val="black"/>
                </a:solidFill>
              </a:rPr>
              <a:pPr>
                <a:defRPr/>
              </a:pPr>
              <a:t>4/22/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pPr>
              <a:defRPr/>
            </a:pPr>
            <a:fld id="{B4008EB6-D09E-4580-8CD6-DDB14511944F}" type="slidenum">
              <a:rPr lang="en-US" smtClean="0">
                <a:solidFill>
                  <a:prstClr val="black"/>
                </a:solidFill>
              </a:rPr>
              <a:pPr>
                <a:defRPr/>
              </a:pPr>
              <a:t>8</a:t>
            </a:fld>
            <a:endParaRPr lang="en-US" dirty="0">
              <a:solidFill>
                <a:prstClr val="black"/>
              </a:solidFill>
            </a:endParaRPr>
          </a:p>
        </p:txBody>
      </p:sp>
    </p:spTree>
    <p:extLst>
      <p:ext uri="{BB962C8B-B14F-4D97-AF65-F5344CB8AC3E}">
        <p14:creationId xmlns:p14="http://schemas.microsoft.com/office/powerpoint/2010/main" val="33178054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ustomers are enterprises (mostly</a:t>
            </a:r>
            <a:r>
              <a:rPr lang="en-US" baseline="0" dirty="0" smtClean="0"/>
              <a:t> .com) agencies, Microsoft. A lot of traction on CMS and WP. </a:t>
            </a:r>
          </a:p>
          <a:p>
            <a:r>
              <a:rPr lang="en-US" baseline="0" dirty="0" smtClean="0"/>
              <a:t>Car companies do digital marketing campaigns, MSFT does blogs. </a:t>
            </a:r>
          </a:p>
          <a:p>
            <a:r>
              <a:rPr lang="en-US" baseline="0" dirty="0" smtClean="0"/>
              <a:t>Airlines are using the platform to reach customer and host critical application. </a:t>
            </a:r>
          </a:p>
          <a:p>
            <a:r>
              <a:rPr lang="en-US" baseline="0" dirty="0" smtClean="0"/>
              <a:t>Digital agencies (like Hogarth) are using Websites as a core platform on which they built solutions</a:t>
            </a:r>
          </a:p>
          <a:p>
            <a:r>
              <a:rPr lang="en-US" baseline="0" dirty="0" smtClean="0"/>
              <a:t>MSIT looking at using Hybrid Connections for business apps. Good traction with Nordstrom on e-commerce </a:t>
            </a:r>
          </a:p>
          <a:p>
            <a:endParaRPr lang="en-US" dirty="0"/>
          </a:p>
        </p:txBody>
      </p:sp>
      <p:sp>
        <p:nvSpPr>
          <p:cNvPr id="4" name="Footer Placeholder 3"/>
          <p:cNvSpPr>
            <a:spLocks noGrp="1"/>
          </p:cNvSpPr>
          <p:nvPr>
            <p:ph type="ftr" sz="quarter" idx="10"/>
          </p:nvPr>
        </p:nvSpPr>
        <p:spPr>
          <a:xfrm>
            <a:off x="0" y="8686800"/>
            <a:ext cx="5920740" cy="355964"/>
          </a:xfrm>
          <a:prstGeom prst="rect">
            <a:avLst/>
          </a:prstGeom>
        </p:spPr>
        <p:txBody>
          <a:bodyPr/>
          <a:lstStyle/>
          <a:p>
            <a:pPr defTabSz="914099" eaLnBrk="0" hangingPunct="0">
              <a:defRPr/>
            </a:pPr>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a:defRPr/>
            </a:pPr>
            <a:fld id="{E74353ED-ACB2-44BF-A903-985B0AF962B7}" type="datetime1">
              <a:rPr lang="en-US" smtClean="0">
                <a:solidFill>
                  <a:prstClr val="black"/>
                </a:solidFill>
              </a:rPr>
              <a:pPr>
                <a:defRPr/>
              </a:pPr>
              <a:t>4/22/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pPr>
              <a:defRPr/>
            </a:pPr>
            <a:fld id="{B4008EB6-D09E-4580-8CD6-DDB14511944F}" type="slidenum">
              <a:rPr lang="en-US" smtClean="0">
                <a:solidFill>
                  <a:prstClr val="black"/>
                </a:solidFill>
              </a:rPr>
              <a:pPr>
                <a:defRPr/>
              </a:pPr>
              <a:t>11</a:t>
            </a:fld>
            <a:endParaRPr lang="en-US" dirty="0">
              <a:solidFill>
                <a:prstClr val="black"/>
              </a:solidFill>
            </a:endParaRPr>
          </a:p>
        </p:txBody>
      </p:sp>
    </p:spTree>
    <p:extLst>
      <p:ext uri="{BB962C8B-B14F-4D97-AF65-F5344CB8AC3E}">
        <p14:creationId xmlns:p14="http://schemas.microsoft.com/office/powerpoint/2010/main" val="37979791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prstClr val="black"/>
                </a:solidFill>
                <a:effectLst/>
                <a:uLnTx/>
                <a:uFillTx/>
                <a:latin typeface="Calibri" panose="020F0502020204030204"/>
                <a:ea typeface="+mn-ea"/>
                <a:cs typeface="+mn-cs"/>
              </a:rPr>
              <a:t>Timing: </a:t>
            </a:r>
            <a:r>
              <a:rPr kumimoji="0" lang="en-US" sz="800" b="0" i="0" u="none" strike="noStrike" kern="1200" cap="none" spc="0" normalizeH="0" baseline="0" noProof="0" dirty="0" smtClean="0">
                <a:ln>
                  <a:noFill/>
                </a:ln>
                <a:solidFill>
                  <a:prstClr val="black"/>
                </a:solidFill>
                <a:effectLst/>
                <a:uLnTx/>
                <a:uFillTx/>
                <a:latin typeface="Calibri" panose="020F0502020204030204"/>
                <a:ea typeface="+mn-ea"/>
                <a:cs typeface="+mn-cs"/>
              </a:rPr>
              <a:t>2 minut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prstClr val="black"/>
                </a:solidFill>
                <a:effectLst/>
                <a:uLnTx/>
                <a:uFillTx/>
                <a:latin typeface="Calibri" panose="020F0502020204030204"/>
                <a:ea typeface="+mn-ea"/>
                <a:cs typeface="+mn-cs"/>
              </a:rPr>
              <a:t> </a:t>
            </a:r>
            <a:endParaRPr kumimoji="0" lang="en-US" sz="800" b="0" i="0" u="none" strike="noStrike" kern="1200" cap="none" spc="0" normalizeH="0" baseline="0" noProof="0" dirty="0" smtClean="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prstClr val="black"/>
                </a:solidFill>
                <a:effectLst/>
                <a:uLnTx/>
                <a:uFillTx/>
                <a:latin typeface="Calibri" panose="020F0502020204030204"/>
                <a:ea typeface="+mn-ea"/>
                <a:cs typeface="+mn-cs"/>
              </a:rPr>
              <a:t>Purpose: </a:t>
            </a:r>
            <a:r>
              <a:rPr kumimoji="0" lang="en-US" sz="800" b="0" i="0" u="none" strike="noStrike" kern="1200" cap="none" spc="0" normalizeH="0" baseline="0" noProof="0" dirty="0" smtClean="0">
                <a:ln>
                  <a:noFill/>
                </a:ln>
                <a:solidFill>
                  <a:prstClr val="black"/>
                </a:solidFill>
                <a:effectLst/>
                <a:uLnTx/>
                <a:uFillTx/>
                <a:latin typeface="Calibri" panose="020F0502020204030204"/>
                <a:ea typeface="+mn-ea"/>
                <a:cs typeface="+mn-cs"/>
              </a:rPr>
              <a:t>Share stories of customers that are reimagining their business using Microsoft technology. Select the stories that will resonate best with your customer. Additional customer case studies and references may be found at http://erdesk.</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prstClr val="black"/>
                </a:solidFill>
                <a:effectLst/>
                <a:uLnTx/>
                <a:uFillTx/>
                <a:latin typeface="Calibri" panose="020F0502020204030204"/>
                <a:ea typeface="+mn-ea"/>
                <a:cs typeface="+mn-cs"/>
              </a:rPr>
              <a:t> </a:t>
            </a:r>
            <a:endParaRPr kumimoji="0" lang="en-US" sz="800" b="0" i="0" u="none" strike="noStrike" kern="1200" cap="none" spc="0" normalizeH="0" baseline="0" noProof="0" dirty="0" smtClean="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prstClr val="black"/>
                </a:solidFill>
                <a:effectLst/>
                <a:uLnTx/>
                <a:uFillTx/>
                <a:latin typeface="Calibri" panose="020F0502020204030204"/>
                <a:ea typeface="+mn-ea"/>
                <a:cs typeface="+mn-cs"/>
              </a:rPr>
              <a:t>Key Point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1" i="0" u="none" strike="noStrike" kern="1200" cap="none" spc="0" normalizeH="0" baseline="0" noProof="0" dirty="0" smtClean="0">
                <a:ln>
                  <a:noFill/>
                </a:ln>
                <a:solidFill>
                  <a:prstClr val="black"/>
                </a:solidFill>
                <a:effectLst/>
                <a:uLnTx/>
                <a:uFillTx/>
                <a:latin typeface="Calibri" panose="020F0502020204030204"/>
                <a:ea typeface="+mn-ea"/>
                <a:cs typeface="+mn-cs"/>
              </a:rPr>
              <a:t>Customer Profile: </a:t>
            </a:r>
            <a:r>
              <a:rPr kumimoji="0" lang="en-US" sz="800" b="0" i="0" u="none" strike="noStrike" kern="1200" cap="none" spc="0" normalizeH="0" baseline="0" noProof="0" dirty="0" smtClean="0">
                <a:ln>
                  <a:noFill/>
                </a:ln>
                <a:solidFill>
                  <a:prstClr val="black"/>
                </a:solidFill>
                <a:effectLst/>
                <a:uLnTx/>
                <a:uFillTx/>
                <a:latin typeface="Calibri" panose="020F0502020204030204"/>
                <a:ea typeface="+mn-ea"/>
                <a:cs typeface="+mn-cs"/>
              </a:rPr>
              <a:t>Emirates is an international airline based in Dubai, United Arab Emirates. It operates more than 2,500 flights per week to 126 cities in 74 countries across six continents.</a:t>
            </a:r>
          </a:p>
          <a:p>
            <a:pPr marL="174982" marR="0" lvl="0" indent="-174982"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800" b="1" i="0" u="none" strike="noStrike" kern="1200" cap="none" spc="0" normalizeH="0" baseline="0" noProof="0" dirty="0" smtClean="0">
                <a:ln>
                  <a:noFill/>
                </a:ln>
                <a:solidFill>
                  <a:prstClr val="black"/>
                </a:solidFill>
                <a:effectLst/>
                <a:uLnTx/>
                <a:uFillTx/>
                <a:latin typeface="Calibri" panose="020F0502020204030204"/>
                <a:ea typeface="+mn-ea"/>
                <a:cs typeface="+mn-cs"/>
              </a:rPr>
              <a:t>Business goal: </a:t>
            </a:r>
          </a:p>
          <a:p>
            <a:pPr marL="174982" marR="0" lvl="0" indent="-174982"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800" b="1" i="0" u="none" strike="noStrike" kern="1200" cap="none" spc="0" normalizeH="0" baseline="0" noProof="0" dirty="0" smtClean="0">
                <a:ln>
                  <a:noFill/>
                </a:ln>
                <a:solidFill>
                  <a:prstClr val="black"/>
                </a:solidFill>
                <a:effectLst/>
                <a:uLnTx/>
                <a:uFillTx/>
                <a:latin typeface="Calibri" panose="020F0502020204030204"/>
                <a:ea typeface="+mn-ea"/>
                <a:cs typeface="+mn-cs"/>
              </a:rPr>
              <a:t>Tactics:</a:t>
            </a:r>
          </a:p>
          <a:p>
            <a:pPr marL="174982" marR="0" lvl="0" indent="-174982" algn="l" defTabSz="777480" rtl="0" eaLnBrk="1" fontAlgn="auto" latinLnBrk="0" hangingPunct="1">
              <a:lnSpc>
                <a:spcPct val="100000"/>
              </a:lnSpc>
              <a:spcBef>
                <a:spcPts val="0"/>
              </a:spcBef>
              <a:spcAft>
                <a:spcPts val="0"/>
              </a:spcAft>
              <a:buClrTx/>
              <a:buSzTx/>
              <a:buFont typeface="Arial" pitchFamily="34" charset="0"/>
              <a:buChar char="•"/>
              <a:tabLst/>
              <a:defRPr/>
            </a:pPr>
            <a:r>
              <a:rPr kumimoji="0" lang="en-US" sz="800" b="1" i="0" u="none" strike="noStrike" kern="1200" cap="none" spc="0" normalizeH="0" baseline="0" noProof="0" dirty="0" smtClean="0">
                <a:ln>
                  <a:noFill/>
                </a:ln>
                <a:solidFill>
                  <a:prstClr val="black"/>
                </a:solidFill>
                <a:effectLst/>
                <a:uLnTx/>
                <a:uFillTx/>
                <a:latin typeface="Calibri" panose="020F0502020204030204"/>
                <a:ea typeface="+mn-ea"/>
                <a:cs typeface="+mn-cs"/>
              </a:rPr>
              <a:t>Results:</a:t>
            </a:r>
          </a:p>
          <a:p>
            <a:pPr marL="174982" marR="0" lvl="0" indent="-174982" algn="l" defTabSz="777480" rtl="0" eaLnBrk="1" fontAlgn="auto" latinLnBrk="0" hangingPunct="1">
              <a:lnSpc>
                <a:spcPct val="100000"/>
              </a:lnSpc>
              <a:spcBef>
                <a:spcPts val="0"/>
              </a:spcBef>
              <a:spcAft>
                <a:spcPts val="0"/>
              </a:spcAft>
              <a:buClrTx/>
              <a:buSzTx/>
              <a:buFont typeface="Arial" pitchFamily="34" charset="0"/>
              <a:buChar char="•"/>
              <a:tabLst/>
              <a:defRPr/>
            </a:pPr>
            <a:endParaRPr kumimoji="0" lang="en-US" sz="800" b="0" i="0" u="none" strike="noStrike" kern="1200" cap="none" spc="0" normalizeH="0" baseline="0" noProof="0" dirty="0" smtClean="0">
              <a:ln>
                <a:noFill/>
              </a:ln>
              <a:solidFill>
                <a:prstClr val="black"/>
              </a:solidFill>
              <a:effectLst/>
              <a:uLnTx/>
              <a:uFillTx/>
              <a:latin typeface="Calibri" panose="020F0502020204030204"/>
              <a:ea typeface="+mn-ea"/>
              <a:cs typeface="+mn-cs"/>
            </a:endParaRPr>
          </a:p>
          <a:p>
            <a:pPr marL="174982" marR="0" lvl="0" indent="-174982" algn="l" defTabSz="777480" rtl="0" eaLnBrk="1" fontAlgn="auto" latinLnBrk="0" hangingPunct="1">
              <a:lnSpc>
                <a:spcPct val="100000"/>
              </a:lnSpc>
              <a:spcBef>
                <a:spcPts val="0"/>
              </a:spcBef>
              <a:spcAft>
                <a:spcPts val="0"/>
              </a:spcAft>
              <a:buClrTx/>
              <a:buSzTx/>
              <a:buFont typeface="Arial" pitchFamily="34" charset="0"/>
              <a:buChar char="•"/>
              <a:tabLst/>
              <a:defRPr/>
            </a:pPr>
            <a:endParaRPr kumimoji="0" lang="en-US" sz="800" b="0" i="0" u="none" strike="noStrike" kern="1200" cap="none" spc="0" normalizeH="0" baseline="0" noProof="0" dirty="0" smtClean="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prstClr val="black"/>
                </a:solidFill>
                <a:effectLst/>
                <a:uLnTx/>
                <a:uFillTx/>
                <a:latin typeface="Calibri" panose="020F0502020204030204"/>
                <a:ea typeface="+mn-ea"/>
                <a:cs typeface="+mn-cs"/>
              </a:rPr>
              <a:t>Additional Information: </a:t>
            </a:r>
            <a:r>
              <a:rPr kumimoji="0" lang="en-US" sz="800" b="0" i="0" u="sng" strike="noStrike" kern="1200" cap="none" spc="0" normalizeH="0" baseline="0" noProof="0" dirty="0" err="1" smtClean="0">
                <a:ln>
                  <a:noFill/>
                </a:ln>
                <a:solidFill>
                  <a:prstClr val="black"/>
                </a:solidFill>
                <a:effectLst/>
                <a:uLnTx/>
                <a:uFillTx/>
                <a:latin typeface="Calibri" panose="020F0502020204030204"/>
                <a:ea typeface="+mn-ea"/>
                <a:cs typeface="+mn-cs"/>
              </a:rPr>
              <a:t>workingon</a:t>
            </a:r>
            <a:r>
              <a:rPr kumimoji="0" lang="en-US" sz="800" b="0" i="0" u="sng" strike="noStrike" kern="1200" cap="none" spc="0" normalizeH="0" baseline="0" noProof="0" dirty="0" smtClean="0">
                <a:ln>
                  <a:noFill/>
                </a:ln>
                <a:solidFill>
                  <a:prstClr val="black"/>
                </a:solidFill>
                <a:effectLst/>
                <a:uLnTx/>
                <a:uFillTx/>
                <a:latin typeface="Calibri" panose="020F0502020204030204"/>
                <a:ea typeface="+mn-ea"/>
                <a:cs typeface="+mn-cs"/>
              </a:rPr>
              <a:t> case study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smtClean="0">
              <a:ln>
                <a:noFill/>
              </a:ln>
              <a:solidFill>
                <a:prstClr val="black"/>
              </a:solidFill>
              <a:effectLst/>
              <a:uLnTx/>
              <a:uFillTx/>
              <a:latin typeface="Calibri" panose="020F0502020204030204"/>
              <a:ea typeface="+mn-ea"/>
              <a:cs typeface="+mn-cs"/>
            </a:endParaRPr>
          </a:p>
          <a:p>
            <a:endParaRPr lang="en-US" dirty="0"/>
          </a:p>
        </p:txBody>
      </p:sp>
      <p:sp>
        <p:nvSpPr>
          <p:cNvPr id="4" name="Slide Number Placeholder 3"/>
          <p:cNvSpPr>
            <a:spLocks noGrp="1"/>
          </p:cNvSpPr>
          <p:nvPr>
            <p:ph type="sldNum" sz="quarter" idx="10"/>
          </p:nvPr>
        </p:nvSpPr>
        <p:spPr/>
        <p:txBody>
          <a:bodyPr/>
          <a:lstStyle/>
          <a:p>
            <a:fld id="{A5B258F2-B2E5-4175-B339-81AEE5988F5F}" type="slidenum">
              <a:rPr lang="en-US" smtClean="0">
                <a:solidFill>
                  <a:prstClr val="black"/>
                </a:solidFill>
                <a:latin typeface="Segoe UI" panose="020B0502040204020203" pitchFamily="34" charset="0"/>
              </a:rPr>
              <a:pPr/>
              <a:t>13</a:t>
            </a:fld>
            <a:endParaRPr lang="en-US" dirty="0">
              <a:solidFill>
                <a:prstClr val="black"/>
              </a:solidFill>
              <a:latin typeface="Segoe UI" panose="020B0502040204020203" pitchFamily="34" charset="0"/>
            </a:endParaRPr>
          </a:p>
        </p:txBody>
      </p:sp>
    </p:spTree>
    <p:extLst>
      <p:ext uri="{BB962C8B-B14F-4D97-AF65-F5344CB8AC3E}">
        <p14:creationId xmlns:p14="http://schemas.microsoft.com/office/powerpoint/2010/main" val="15100848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prstClr val="black"/>
                </a:solidFill>
                <a:effectLst/>
                <a:uLnTx/>
                <a:uFillTx/>
                <a:latin typeface="Calibri" panose="020F0502020204030204"/>
                <a:ea typeface="+mn-ea"/>
                <a:cs typeface="+mn-cs"/>
              </a:rPr>
              <a:t>Purpose: </a:t>
            </a:r>
            <a:r>
              <a:rPr kumimoji="0" lang="en-US" sz="800" b="0" i="0" u="none" strike="noStrike" kern="1200" cap="none" spc="0" normalizeH="0" baseline="0" noProof="0" dirty="0" smtClean="0">
                <a:ln>
                  <a:noFill/>
                </a:ln>
                <a:solidFill>
                  <a:prstClr val="black"/>
                </a:solidFill>
                <a:effectLst/>
                <a:uLnTx/>
                <a:uFillTx/>
                <a:latin typeface="Calibri" panose="020F0502020204030204"/>
                <a:ea typeface="+mn-ea"/>
                <a:cs typeface="+mn-cs"/>
              </a:rPr>
              <a:t>Share stories of customers that are reimagining their business using Microsoft technology. Select the stories that will resonate best with your customer. Additional customer case studies and references may be found at http://erdesk.</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prstClr val="black"/>
                </a:solidFill>
                <a:effectLst/>
                <a:uLnTx/>
                <a:uFillTx/>
                <a:latin typeface="Calibri" panose="020F0502020204030204"/>
                <a:ea typeface="+mn-ea"/>
                <a:cs typeface="+mn-cs"/>
              </a:rPr>
              <a:t> </a:t>
            </a:r>
            <a:endParaRPr kumimoji="0" lang="en-US" sz="800" b="0" i="0" u="none" strike="noStrike" kern="1200" cap="none" spc="0" normalizeH="0" baseline="0" noProof="0" dirty="0" smtClean="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prstClr val="black"/>
                </a:solidFill>
                <a:effectLst/>
                <a:uLnTx/>
                <a:uFillTx/>
                <a:latin typeface="Calibri" panose="020F0502020204030204"/>
                <a:ea typeface="+mn-ea"/>
                <a:cs typeface="+mn-cs"/>
              </a:rPr>
              <a:t>Key Point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1" i="0" u="none" strike="noStrike" kern="1200" cap="none" spc="0" normalizeH="0" baseline="0" noProof="0" dirty="0" smtClean="0">
                <a:ln>
                  <a:noFill/>
                </a:ln>
                <a:solidFill>
                  <a:prstClr val="black"/>
                </a:solidFill>
                <a:effectLst/>
                <a:uLnTx/>
                <a:uFillTx/>
                <a:latin typeface="Calibri" panose="020F0502020204030204"/>
                <a:ea typeface="+mn-ea"/>
                <a:cs typeface="+mn-cs"/>
              </a:rPr>
              <a:t>Customer Profile: </a:t>
            </a:r>
            <a:r>
              <a:rPr lang="en-US" sz="800" dirty="0" smtClean="0"/>
              <a:t>Jägermeister is a German liqueur</a:t>
            </a:r>
            <a:r>
              <a:rPr lang="en-US" sz="800" baseline="0" dirty="0" smtClean="0"/>
              <a:t> that is very popular with younger drinkers, and their website is squarely targeted at this demographi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1" i="0" u="none" strike="noStrike" kern="1200" cap="none" spc="0" normalizeH="0" baseline="0" noProof="0" dirty="0" smtClean="0">
                <a:ln>
                  <a:noFill/>
                </a:ln>
                <a:solidFill>
                  <a:prstClr val="black"/>
                </a:solidFill>
                <a:effectLst/>
                <a:uLnTx/>
                <a:uFillTx/>
                <a:latin typeface="Calibri" panose="020F0502020204030204"/>
                <a:ea typeface="+mn-ea"/>
                <a:cs typeface="+mn-cs"/>
              </a:rPr>
              <a:t>Business goal: </a:t>
            </a:r>
            <a:r>
              <a:rPr kumimoji="0" lang="en-US" sz="800" b="0" i="0" u="none" strike="noStrike" kern="1200" cap="none" spc="0" normalizeH="0" baseline="0" noProof="0" dirty="0" smtClean="0">
                <a:ln>
                  <a:noFill/>
                </a:ln>
                <a:solidFill>
                  <a:schemeClr val="tx1"/>
                </a:solidFill>
                <a:effectLst/>
                <a:uLnTx/>
                <a:uFillTx/>
                <a:latin typeface="Arial" pitchFamily="34" charset="0"/>
                <a:ea typeface="+mn-ea"/>
                <a:cs typeface="Arial" pitchFamily="34" charset="0"/>
              </a:rPr>
              <a:t>Enabling consumers with the ability to c</a:t>
            </a:r>
            <a:r>
              <a:rPr lang="en-US" sz="800" dirty="0" err="1" smtClean="0"/>
              <a:t>apture</a:t>
            </a:r>
            <a:r>
              <a:rPr lang="en-US" sz="800" dirty="0" smtClean="0"/>
              <a:t> your legendary night out with friends through </a:t>
            </a:r>
            <a:r>
              <a:rPr lang="en-US" sz="800" dirty="0" err="1" smtClean="0"/>
              <a:t>JägerBonds</a:t>
            </a:r>
            <a:r>
              <a:rPr lang="en-US" sz="800" dirty="0" smtClean="0"/>
              <a:t>. From first shot to last call, the pictures, videos and posts everyone shares are turned into an epic music video.</a:t>
            </a:r>
            <a:endParaRPr kumimoji="0" lang="en-US" sz="800" b="0" i="0" u="none" strike="noStrike" kern="1200" cap="none" spc="0" normalizeH="0" baseline="0" noProof="0" dirty="0" smtClean="0">
              <a:ln>
                <a:noFill/>
              </a:ln>
              <a:solidFill>
                <a:prstClr val="black"/>
              </a:solidFill>
              <a:effectLst/>
              <a:uLnTx/>
              <a:uFillTx/>
              <a:latin typeface="Calibri" panose="020F050202020403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1" i="0" u="none" strike="noStrike" kern="1200" cap="none" spc="0" normalizeH="0" baseline="0" noProof="0" dirty="0" smtClean="0">
                <a:ln>
                  <a:noFill/>
                </a:ln>
                <a:solidFill>
                  <a:prstClr val="black"/>
                </a:solidFill>
                <a:effectLst/>
                <a:uLnTx/>
                <a:uFillTx/>
                <a:latin typeface="Calibri" panose="020F0502020204030204"/>
                <a:ea typeface="+mn-ea"/>
                <a:cs typeface="+mn-cs"/>
              </a:rPr>
              <a:t>Tactics: </a:t>
            </a:r>
            <a:r>
              <a:rPr lang="en-US" sz="800" baseline="0" dirty="0" smtClean="0"/>
              <a:t>Both the website and the app run on Azure.</a:t>
            </a:r>
            <a:endParaRPr lang="en-US" sz="800" dirty="0" smtClean="0"/>
          </a:p>
          <a:p>
            <a:r>
              <a:rPr kumimoji="0" lang="en-US" sz="800" b="1" i="0" u="none" strike="noStrike" kern="1200" cap="none" spc="0" normalizeH="0" baseline="0" noProof="0" dirty="0" smtClean="0">
                <a:ln>
                  <a:noFill/>
                </a:ln>
                <a:solidFill>
                  <a:prstClr val="black"/>
                </a:solidFill>
                <a:effectLst/>
                <a:uLnTx/>
                <a:uFillTx/>
                <a:latin typeface="Calibri" panose="020F0502020204030204"/>
                <a:ea typeface="+mn-ea"/>
                <a:cs typeface="+mn-cs"/>
              </a:rPr>
              <a:t>Results: </a:t>
            </a:r>
            <a:r>
              <a:rPr lang="en-US" sz="800" dirty="0" smtClean="0"/>
              <a:t>The</a:t>
            </a:r>
            <a:r>
              <a:rPr lang="en-US" sz="800" baseline="0" dirty="0" smtClean="0"/>
              <a:t> app gives </a:t>
            </a:r>
            <a:r>
              <a:rPr lang="en-US" sz="800" dirty="0" smtClean="0"/>
              <a:t>customers a reason to use the app again and again,</a:t>
            </a:r>
            <a:r>
              <a:rPr lang="en-US" sz="800" baseline="0" dirty="0" smtClean="0"/>
              <a:t> driving brand awareness and loyalty – by associating the brand with a great time out.</a:t>
            </a:r>
            <a:endParaRPr kumimoji="0" lang="en-US" sz="800" b="0" i="0" u="none" strike="noStrike" kern="1200" cap="none" spc="0" normalizeH="0" baseline="0" noProof="0" dirty="0" smtClean="0">
              <a:ln>
                <a:noFill/>
              </a:ln>
              <a:solidFill>
                <a:prstClr val="black"/>
              </a:solidFill>
              <a:effectLst/>
              <a:uLnTx/>
              <a:uFillTx/>
              <a:latin typeface="Calibri" panose="020F0502020204030204"/>
              <a:ea typeface="+mn-ea"/>
              <a:cs typeface="+mn-cs"/>
            </a:endParaRPr>
          </a:p>
          <a:p>
            <a:pPr marL="0" marR="0" lvl="0" indent="0" algn="l" defTabSz="77748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smtClean="0">
              <a:ln>
                <a:noFill/>
              </a:ln>
              <a:solidFill>
                <a:prstClr val="black"/>
              </a:solidFill>
              <a:effectLst/>
              <a:uLnTx/>
              <a:uFillTx/>
              <a:latin typeface="Calibri" panose="020F0502020204030204"/>
              <a:ea typeface="+mn-ea"/>
              <a:cs typeface="+mn-cs"/>
            </a:endParaRPr>
          </a:p>
          <a:p>
            <a:endParaRPr lang="en-US" dirty="0"/>
          </a:p>
        </p:txBody>
      </p:sp>
      <p:sp>
        <p:nvSpPr>
          <p:cNvPr id="4" name="Slide Number Placeholder 3"/>
          <p:cNvSpPr>
            <a:spLocks noGrp="1"/>
          </p:cNvSpPr>
          <p:nvPr>
            <p:ph type="sldNum" sz="quarter" idx="10"/>
          </p:nvPr>
        </p:nvSpPr>
        <p:spPr/>
        <p:txBody>
          <a:bodyPr/>
          <a:lstStyle/>
          <a:p>
            <a:fld id="{A5B258F2-B2E5-4175-B339-81AEE5988F5F}" type="slidenum">
              <a:rPr lang="en-US" smtClean="0">
                <a:solidFill>
                  <a:prstClr val="black"/>
                </a:solidFill>
                <a:latin typeface="Segoe UI" panose="020B0502040204020203" pitchFamily="34" charset="0"/>
              </a:rPr>
              <a:pPr/>
              <a:t>14</a:t>
            </a:fld>
            <a:endParaRPr lang="en-US" dirty="0">
              <a:solidFill>
                <a:prstClr val="black"/>
              </a:solidFill>
              <a:latin typeface="Segoe UI" panose="020B0502040204020203" pitchFamily="34" charset="0"/>
            </a:endParaRPr>
          </a:p>
        </p:txBody>
      </p:sp>
    </p:spTree>
    <p:extLst>
      <p:ext uri="{BB962C8B-B14F-4D97-AF65-F5344CB8AC3E}">
        <p14:creationId xmlns:p14="http://schemas.microsoft.com/office/powerpoint/2010/main" val="3128011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ustomers are enterprises (mostly</a:t>
            </a:r>
            <a:r>
              <a:rPr lang="en-US" baseline="0" dirty="0" smtClean="0"/>
              <a:t> .com) agencies, Microsoft. A lot of traction on CMS and WP. </a:t>
            </a:r>
          </a:p>
          <a:p>
            <a:r>
              <a:rPr lang="en-US" baseline="0" dirty="0" smtClean="0"/>
              <a:t>Car companies do digital marketing campaigns, MSFT does blogs. </a:t>
            </a:r>
          </a:p>
          <a:p>
            <a:r>
              <a:rPr lang="en-US" baseline="0" dirty="0" smtClean="0"/>
              <a:t>MSIT looking at using Hybrid Connections for business apps. Good traction with Nordstrom on e-commerce </a:t>
            </a:r>
            <a:endParaRPr lang="en-US" dirty="0" smtClean="0"/>
          </a:p>
          <a:p>
            <a:endParaRPr lang="en-US" dirty="0"/>
          </a:p>
        </p:txBody>
      </p:sp>
      <p:sp>
        <p:nvSpPr>
          <p:cNvPr id="4" name="Slide Number Placeholder 3"/>
          <p:cNvSpPr>
            <a:spLocks noGrp="1"/>
          </p:cNvSpPr>
          <p:nvPr>
            <p:ph type="sldNum" sz="quarter" idx="10"/>
          </p:nvPr>
        </p:nvSpPr>
        <p:spPr/>
        <p:txBody>
          <a:bodyPr/>
          <a:lstStyle/>
          <a:p>
            <a:fld id="{6D581EC0-6C77-47EF-A5F1-48F7DF3073C0}" type="slidenum">
              <a:rPr lang="en-US" smtClean="0">
                <a:solidFill>
                  <a:prstClr val="black"/>
                </a:solidFill>
              </a:rPr>
              <a:pPr/>
              <a:t>15</a:t>
            </a:fld>
            <a:endParaRPr lang="en-US">
              <a:solidFill>
                <a:prstClr val="black"/>
              </a:solidFill>
            </a:endParaRPr>
          </a:p>
        </p:txBody>
      </p:sp>
    </p:spTree>
    <p:extLst>
      <p:ext uri="{BB962C8B-B14F-4D97-AF65-F5344CB8AC3E}">
        <p14:creationId xmlns:p14="http://schemas.microsoft.com/office/powerpoint/2010/main" val="32737554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8B263312-38AA-4E1E-B2B5-0F8F122B24FE}" type="slidenum">
              <a:rPr lang="en-US" smtClean="0">
                <a:solidFill>
                  <a:prstClr val="black"/>
                </a:solidFill>
              </a:rPr>
              <a:pPr/>
              <a:t>17</a:t>
            </a:fld>
            <a:endParaRPr lang="en-US" dirty="0">
              <a:solidFill>
                <a:prstClr val="black"/>
              </a:solidFill>
            </a:endParaRPr>
          </a:p>
        </p:txBody>
      </p:sp>
      <p:sp>
        <p:nvSpPr>
          <p:cNvPr id="10" name="Slide Image Placeholder 9"/>
          <p:cNvSpPr>
            <a:spLocks noGrp="1" noRot="1" noChangeAspect="1"/>
          </p:cNvSpPr>
          <p:nvPr>
            <p:ph type="sldImg"/>
          </p:nvPr>
        </p:nvSpPr>
        <p:spPr/>
      </p:sp>
      <p:sp>
        <p:nvSpPr>
          <p:cNvPr id="11" name="Notes Placeholder 10"/>
          <p:cNvSpPr>
            <a:spLocks noGrp="1"/>
          </p:cNvSpPr>
          <p:nvPr>
            <p:ph type="body" idx="1"/>
          </p:nvPr>
        </p:nvSpPr>
        <p:spPr/>
        <p:txBody>
          <a:bodyPr/>
          <a:lstStyle/>
          <a:p>
            <a:endParaRPr lang="en-US"/>
          </a:p>
        </p:txBody>
      </p:sp>
      <p:sp>
        <p:nvSpPr>
          <p:cNvPr id="16" name="Date Placeholder 15"/>
          <p:cNvSpPr>
            <a:spLocks noGrp="1"/>
          </p:cNvSpPr>
          <p:nvPr>
            <p:ph type="dt" idx="13"/>
          </p:nvPr>
        </p:nvSpPr>
        <p:spPr/>
        <p:txBody>
          <a:bodyPr/>
          <a:lstStyle/>
          <a:p>
            <a:fld id="{8453B4A1-23F0-4EA8-922A-C21006FB5AB3}" type="datetime1">
              <a:rPr lang="en-US" smtClean="0">
                <a:solidFill>
                  <a:prstClr val="black"/>
                </a:solidFill>
              </a:rPr>
              <a:pPr/>
              <a:t>4/22/2015</a:t>
            </a:fld>
            <a:endParaRPr lang="en-US" dirty="0">
              <a:solidFill>
                <a:prstClr val="black"/>
              </a:solidFill>
            </a:endParaRPr>
          </a:p>
        </p:txBody>
      </p:sp>
      <p:sp>
        <p:nvSpPr>
          <p:cNvPr id="4" name="Footer Placeholder 3"/>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34487723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31.png"/><Relationship Id="rId1" Type="http://schemas.openxmlformats.org/officeDocument/2006/relationships/slideMaster" Target="../slideMasters/slideMaster5.xml"/><Relationship Id="rId5" Type="http://schemas.openxmlformats.org/officeDocument/2006/relationships/image" Target="../media/image35.jpg"/><Relationship Id="rId4" Type="http://schemas.openxmlformats.org/officeDocument/2006/relationships/image" Target="../media/image34.jpg"/></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31.png"/><Relationship Id="rId1" Type="http://schemas.openxmlformats.org/officeDocument/2006/relationships/slideMaster" Target="../slideMasters/slideMaster5.xml"/><Relationship Id="rId4" Type="http://schemas.openxmlformats.org/officeDocument/2006/relationships/image" Target="../media/image36.jp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3" Type="http://schemas.openxmlformats.org/officeDocument/2006/relationships/hyperlink" Target="http://msdevcon.ru/" TargetMode="External"/><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6.xml"/><Relationship Id="rId4" Type="http://schemas.openxmlformats.org/officeDocument/2006/relationships/hyperlink" Target="http://msdevcon.ru/" TargetMode="Externa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41.jpg"/><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19.png"/><Relationship Id="rId1" Type="http://schemas.openxmlformats.org/officeDocument/2006/relationships/slideMaster" Target="../slideMasters/slideMaster6.xml"/><Relationship Id="rId4" Type="http://schemas.microsoft.com/office/2007/relationships/hdphoto" Target="../media/hdphoto3.wdp"/></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jpg"/><Relationship Id="rId1" Type="http://schemas.openxmlformats.org/officeDocument/2006/relationships/slideMaster" Target="../slideMasters/slideMaster6.xml"/><Relationship Id="rId4" Type="http://schemas.microsoft.com/office/2007/relationships/hdphoto" Target="../media/hdphoto4.wdp"/></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6" Type="http://schemas.microsoft.com/office/2007/relationships/hdphoto" Target="../media/hdphoto2.wdp"/><Relationship Id="rId5" Type="http://schemas.openxmlformats.org/officeDocument/2006/relationships/image" Target="../media/image7.png"/><Relationship Id="rId4" Type="http://schemas.microsoft.com/office/2007/relationships/hdphoto" Target="../media/hdphoto1.wdp"/></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2.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24.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4.xml"/><Relationship Id="rId4" Type="http://schemas.openxmlformats.org/officeDocument/2006/relationships/tags" Target="../tags/tag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png"/><Relationship Id="rId1" Type="http://schemas.openxmlformats.org/officeDocument/2006/relationships/slideMaster" Target="../slideMasters/slideMaster4.xml"/><Relationship Id="rId4" Type="http://schemas.openxmlformats.org/officeDocument/2006/relationships/image" Target="../media/image27.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30.jpg"/><Relationship Id="rId1" Type="http://schemas.openxmlformats.org/officeDocument/2006/relationships/slideMaster" Target="../slideMasters/slideMaster5.xml"/><Relationship Id="rId4" Type="http://schemas.openxmlformats.org/officeDocument/2006/relationships/image" Target="../media/image31.png"/></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2.jpg"/><Relationship Id="rId1" Type="http://schemas.openxmlformats.org/officeDocument/2006/relationships/slideMaster" Target="../slideMasters/slideMaster5.xml"/><Relationship Id="rId4" Type="http://schemas.openxmlformats.org/officeDocument/2006/relationships/image" Target="../media/image23.png"/></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nference">
    <p:bg>
      <p:bgPr>
        <a:solidFill>
          <a:schemeClr val="tx1"/>
        </a:solidFill>
        <a:effectLst/>
      </p:bgPr>
    </p:bg>
    <p:spTree>
      <p:nvGrpSpPr>
        <p:cNvPr id="1" name=""/>
        <p:cNvGrpSpPr/>
        <p:nvPr/>
      </p:nvGrpSpPr>
      <p:grpSpPr>
        <a:xfrm>
          <a:off x="0" y="0"/>
          <a:ext cx="0" cy="0"/>
          <a:chOff x="0" y="0"/>
          <a:chExt cx="0" cy="0"/>
        </a:xfrm>
      </p:grpSpPr>
      <p:sp>
        <p:nvSpPr>
          <p:cNvPr id="24" name="TextBox 23"/>
          <p:cNvSpPr txBox="1"/>
          <p:nvPr userDrawn="1"/>
        </p:nvSpPr>
        <p:spPr>
          <a:xfrm>
            <a:off x="4243079" y="1101296"/>
            <a:ext cx="7866625" cy="1200329"/>
          </a:xfrm>
          <a:prstGeom prst="rect">
            <a:avLst/>
          </a:prstGeom>
          <a:noFill/>
        </p:spPr>
        <p:txBody>
          <a:bodyPr wrap="square" rtlCol="0">
            <a:spAutoFit/>
          </a:bodyPr>
          <a:lstStyle/>
          <a:p>
            <a:pPr>
              <a:lnSpc>
                <a:spcPct val="90000"/>
              </a:lnSpc>
            </a:pPr>
            <a:r>
              <a:rPr lang="en-US" sz="4800" dirty="0" smtClean="0">
                <a:solidFill>
                  <a:schemeClr val="bg2"/>
                </a:solidFill>
                <a:latin typeface="Segoe UI" panose="020B0502040204020203" pitchFamily="34" charset="0"/>
                <a:cs typeface="Segoe UI" panose="020B0502040204020203" pitchFamily="34" charset="0"/>
              </a:rPr>
              <a:t>Microsoft Developer Tour</a:t>
            </a:r>
          </a:p>
          <a:p>
            <a:pPr>
              <a:lnSpc>
                <a:spcPct val="90000"/>
              </a:lnSpc>
            </a:pPr>
            <a:r>
              <a:rPr lang="ru-RU" sz="3200" dirty="0" smtClean="0">
                <a:solidFill>
                  <a:schemeClr val="bg2"/>
                </a:solidFill>
                <a:latin typeface="Segoe UI" panose="020B0502040204020203" pitchFamily="34" charset="0"/>
                <a:cs typeface="Segoe UI" panose="020B0502040204020203" pitchFamily="34" charset="0"/>
              </a:rPr>
              <a:t>Технологическая экспедиция</a:t>
            </a:r>
          </a:p>
        </p:txBody>
      </p:sp>
      <p:pic>
        <p:nvPicPr>
          <p:cNvPr id="25" name="Picture 2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5354" y="1192736"/>
            <a:ext cx="7159869" cy="5144056"/>
          </a:xfrm>
          <a:prstGeom prst="rect">
            <a:avLst/>
          </a:prstGeom>
        </p:spPr>
      </p:pic>
      <p:sp>
        <p:nvSpPr>
          <p:cNvPr id="26" name="Rectangle 25"/>
          <p:cNvSpPr/>
          <p:nvPr userDrawn="1"/>
        </p:nvSpPr>
        <p:spPr>
          <a:xfrm>
            <a:off x="9739118" y="5967460"/>
            <a:ext cx="1510222" cy="369332"/>
          </a:xfrm>
          <a:prstGeom prst="rect">
            <a:avLst/>
          </a:prstGeom>
        </p:spPr>
        <p:txBody>
          <a:bodyPr wrap="none">
            <a:spAutoFit/>
          </a:bodyPr>
          <a:lstStyle/>
          <a:p>
            <a:r>
              <a:rPr lang="en-US" dirty="0" smtClean="0">
                <a:solidFill>
                  <a:schemeClr val="bg1">
                    <a:lumMod val="75000"/>
                  </a:schemeClr>
                </a:solidFill>
              </a:rPr>
              <a:t>msdevtour.ru</a:t>
            </a:r>
            <a:endParaRPr lang="ru-RU" dirty="0">
              <a:solidFill>
                <a:schemeClr val="bg1">
                  <a:lumMod val="75000"/>
                </a:schemeClr>
              </a:solidFill>
            </a:endParaRPr>
          </a:p>
        </p:txBody>
      </p:sp>
    </p:spTree>
    <p:extLst>
      <p:ext uri="{BB962C8B-B14F-4D97-AF65-F5344CB8AC3E}">
        <p14:creationId xmlns:p14="http://schemas.microsoft.com/office/powerpoint/2010/main" val="35550201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Text - no bullets">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1001" y="280419"/>
            <a:ext cx="11151917" cy="771151"/>
          </a:xfrm>
          <a:prstGeom prst="rect">
            <a:avLst/>
          </a:prstGeom>
        </p:spPr>
        <p:txBody>
          <a:bodyPr/>
          <a:lstStyle>
            <a:lvl1pPr>
              <a:defRPr>
                <a:solidFill>
                  <a:schemeClr val="tx1"/>
                </a:solidFill>
              </a:defRPr>
            </a:lvl1pPr>
          </a:lstStyle>
          <a:p>
            <a:r>
              <a:rPr lang="en-US" dirty="0" smtClean="0"/>
              <a:t>Click to edit Master title style</a:t>
            </a:r>
            <a:endParaRPr lang="en-US" dirty="0"/>
          </a:p>
        </p:txBody>
      </p:sp>
      <p:sp>
        <p:nvSpPr>
          <p:cNvPr id="5" name="Text Placeholder 4"/>
          <p:cNvSpPr>
            <a:spLocks noGrp="1"/>
          </p:cNvSpPr>
          <p:nvPr>
            <p:ph type="body" sz="quarter" idx="10" hasCustomPrompt="1"/>
          </p:nvPr>
        </p:nvSpPr>
        <p:spPr>
          <a:xfrm>
            <a:off x="377953" y="1402082"/>
            <a:ext cx="11151917" cy="1898981"/>
          </a:xfrm>
          <a:prstGeom prst="rect">
            <a:avLst/>
          </a:prstGeom>
        </p:spPr>
        <p:txBody>
          <a:bodyPr/>
          <a:lstStyle>
            <a:lvl1pPr marL="0" indent="0">
              <a:buNone/>
              <a:defRPr>
                <a:solidFill>
                  <a:schemeClr val="tx2"/>
                </a:solidFill>
              </a:defRPr>
            </a:lvl1pPr>
            <a:lvl2pPr marL="0" indent="0">
              <a:buNone/>
              <a:defRPr>
                <a:solidFill>
                  <a:schemeClr val="tx1"/>
                </a:solidFill>
                <a:latin typeface="+mj-lt"/>
              </a:defRPr>
            </a:lvl2pPr>
            <a:lvl3pPr marL="342900" indent="-342900">
              <a:buFont typeface="Wingdings" panose="05000000000000000000" pitchFamily="2" charset="2"/>
              <a:buChar char="§"/>
              <a:defRPr>
                <a:solidFill>
                  <a:schemeClr val="tx1"/>
                </a:solidFill>
                <a:latin typeface="+mj-lt"/>
              </a:defRPr>
            </a:lvl3pPr>
            <a:lvl4pPr marL="730250" indent="-285750">
              <a:buFont typeface="Wingdings" panose="05000000000000000000" pitchFamily="2" charset="2"/>
              <a:buChar char="§"/>
              <a:defRPr>
                <a:solidFill>
                  <a:schemeClr val="tx1"/>
                </a:solidFill>
              </a:defRPr>
            </a:lvl4pPr>
            <a:lvl5pPr marL="1828800" indent="0">
              <a:buNone/>
              <a:defRPr>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Tree>
    <p:extLst>
      <p:ext uri="{BB962C8B-B14F-4D97-AF65-F5344CB8AC3E}">
        <p14:creationId xmlns:p14="http://schemas.microsoft.com/office/powerpoint/2010/main" val="62538427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 2-color Bullet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2"/>
              </a:buClr>
              <a:buFontTx/>
              <a:buBlip>
                <a:blip r:embed="rId2"/>
              </a:buBlip>
              <a:defRPr sz="3529">
                <a:solidFill>
                  <a:schemeClr val="tx1"/>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2"/>
              </a:buClr>
              <a:buFontTx/>
              <a:buBlip>
                <a:blip r:embed="rId2"/>
              </a:buBlip>
              <a:defRPr sz="3529">
                <a:solidFill>
                  <a:schemeClr val="tx1"/>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11168517"/>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061956467"/>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smtClean="0"/>
              <a:t>Click to edit Master title style</a:t>
            </a:r>
            <a:endParaRPr lang="en-US" dirty="0"/>
          </a:p>
        </p:txBody>
      </p:sp>
    </p:spTree>
    <p:extLst>
      <p:ext uri="{BB962C8B-B14F-4D97-AF65-F5344CB8AC3E}">
        <p14:creationId xmlns:p14="http://schemas.microsoft.com/office/powerpoint/2010/main" val="664833558"/>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smtClean="0"/>
              <a:t>Click to edit Master title style</a:t>
            </a:r>
            <a:endParaRPr lang="en-US" dirty="0"/>
          </a:p>
        </p:txBody>
      </p:sp>
    </p:spTree>
    <p:extLst>
      <p:ext uri="{BB962C8B-B14F-4D97-AF65-F5344CB8AC3E}">
        <p14:creationId xmlns:p14="http://schemas.microsoft.com/office/powerpoint/2010/main" val="3293778932"/>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smtClean="0"/>
              <a:t>Click to edit Master title style</a:t>
            </a:r>
            <a:endParaRPr lang="en-US" dirty="0"/>
          </a:p>
        </p:txBody>
      </p:sp>
    </p:spTree>
    <p:extLst>
      <p:ext uri="{BB962C8B-B14F-4D97-AF65-F5344CB8AC3E}">
        <p14:creationId xmlns:p14="http://schemas.microsoft.com/office/powerpoint/2010/main" val="2870427402"/>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3076504185"/>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bg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2985655120"/>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ig Idea &amp; 3 Points">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1506138895"/>
      </p:ext>
    </p:extLst>
  </p:cSld>
  <p:clrMapOvr>
    <a:masterClrMapping/>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50-50 Right Photo Layout_02">
    <p:bg bwMode="auto">
      <p:bgPr>
        <a:solidFill>
          <a:schemeClr val="bg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996" y="440492"/>
            <a:ext cx="2871471" cy="1318654"/>
          </a:xfrm>
          <a:prstGeom prst="rect">
            <a:avLst/>
          </a:prstGeom>
        </p:spPr>
      </p:pic>
      <p:sp>
        <p:nvSpPr>
          <p:cNvPr id="4" name="Title 1"/>
          <p:cNvSpPr>
            <a:spLocks noGrp="1"/>
          </p:cNvSpPr>
          <p:nvPr>
            <p:ph type="title" hasCustomPrompt="1"/>
          </p:nvPr>
        </p:nvSpPr>
        <p:spPr bwMode="invGray">
          <a:xfrm>
            <a:off x="269240" y="2095970"/>
            <a:ext cx="5378549" cy="267785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0841" y="4773829"/>
            <a:ext cx="5377215" cy="89655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48213" y="6061766"/>
            <a:ext cx="1522404" cy="326167"/>
          </a:xfrm>
          <a:prstGeom prst="rect">
            <a:avLst/>
          </a:prstGeom>
        </p:spPr>
      </p:pic>
      <p:pic>
        <p:nvPicPr>
          <p:cNvPr id="8"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23279" r="17893"/>
          <a:stretch/>
        </p:blipFill>
        <p:spPr>
          <a:xfrm>
            <a:off x="6170701" y="0"/>
            <a:ext cx="6050868" cy="6858000"/>
          </a:xfrm>
          <a:prstGeom prst="rect">
            <a:avLst/>
          </a:prstGeom>
        </p:spPr>
      </p:pic>
      <p:pic>
        <p:nvPicPr>
          <p:cNvPr id="9" name="Picture Placeholder 4"/>
          <p:cNvPicPr>
            <a:picLocks noChangeAspect="1"/>
          </p:cNvPicPr>
          <p:nvPr userDrawn="1"/>
        </p:nvPicPr>
        <p:blipFill rotWithShape="1">
          <a:blip r:embed="rId5">
            <a:extLst>
              <a:ext uri="{28A0092B-C50C-407E-A947-70E740481C1C}">
                <a14:useLocalDpi xmlns:a14="http://schemas.microsoft.com/office/drawing/2010/main" val="0"/>
              </a:ext>
            </a:extLst>
          </a:blip>
          <a:srcRect l="-503" t="26090" r="67" b="-1"/>
          <a:stretch/>
        </p:blipFill>
        <p:spPr>
          <a:xfrm>
            <a:off x="6146999" y="-7783"/>
            <a:ext cx="6074570" cy="6873565"/>
          </a:xfrm>
          <a:prstGeom prst="rect">
            <a:avLst/>
          </a:prstGeom>
        </p:spPr>
      </p:pic>
    </p:spTree>
    <p:extLst>
      <p:ext uri="{BB962C8B-B14F-4D97-AF65-F5344CB8AC3E}">
        <p14:creationId xmlns:p14="http://schemas.microsoft.com/office/powerpoint/2010/main" val="1609734144"/>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50-50 Right Photo Layout_03">
    <p:bg bwMode="auto">
      <p:bgPr>
        <a:solidFill>
          <a:schemeClr val="bg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996" y="440492"/>
            <a:ext cx="2871471" cy="1318654"/>
          </a:xfrm>
          <a:prstGeom prst="rect">
            <a:avLst/>
          </a:prstGeom>
        </p:spPr>
      </p:pic>
      <p:sp>
        <p:nvSpPr>
          <p:cNvPr id="4" name="Title 1"/>
          <p:cNvSpPr>
            <a:spLocks noGrp="1"/>
          </p:cNvSpPr>
          <p:nvPr>
            <p:ph type="title" hasCustomPrompt="1"/>
          </p:nvPr>
        </p:nvSpPr>
        <p:spPr bwMode="invGray">
          <a:xfrm>
            <a:off x="269240" y="2095970"/>
            <a:ext cx="5378549" cy="267785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0841" y="4773829"/>
            <a:ext cx="5377215" cy="89655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48213" y="6061766"/>
            <a:ext cx="1522404" cy="326167"/>
          </a:xfrm>
          <a:prstGeom prst="rect">
            <a:avLst/>
          </a:prstGeom>
        </p:spPr>
      </p:pic>
      <p:pic>
        <p:nvPicPr>
          <p:cNvPr id="8"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1536" t="114" r="36245" b="-114"/>
          <a:stretch/>
        </p:blipFill>
        <p:spPr>
          <a:xfrm>
            <a:off x="6170701" y="1"/>
            <a:ext cx="6050868" cy="6857999"/>
          </a:xfrm>
          <a:prstGeom prst="rect">
            <a:avLst/>
          </a:prstGeom>
        </p:spPr>
      </p:pic>
    </p:spTree>
    <p:extLst>
      <p:ext uri="{BB962C8B-B14F-4D97-AF65-F5344CB8AC3E}">
        <p14:creationId xmlns:p14="http://schemas.microsoft.com/office/powerpoint/2010/main" val="4294123347"/>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Text - bullets">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1001" y="280419"/>
            <a:ext cx="11151917" cy="771151"/>
          </a:xfrm>
          <a:prstGeom prst="rect">
            <a:avLst/>
          </a:prstGeom>
        </p:spPr>
        <p:txBody>
          <a:bodyPr/>
          <a:lstStyle>
            <a:lvl1pPr>
              <a:defRPr>
                <a:solidFill>
                  <a:schemeClr val="tx1"/>
                </a:solidFill>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377953" y="1402082"/>
            <a:ext cx="11151917" cy="1898981"/>
          </a:xfrm>
          <a:prstGeom prst="rect">
            <a:avLst/>
          </a:prstGeom>
        </p:spPr>
        <p:txBody>
          <a:bodyPr/>
          <a:lstStyle>
            <a:lvl1pPr>
              <a:defRPr>
                <a:solidFill>
                  <a:schemeClr val="tx2"/>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7824812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2115567"/>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7124823"/>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56580165"/>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5016342"/>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17975428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43940471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type="blank">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1865066315"/>
      </p:ext>
    </p:extLst>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2085664636"/>
      </p:ext>
    </p:extLst>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First Slide">
    <p:bg>
      <p:bgPr>
        <a:solidFill>
          <a:schemeClr val="accent4"/>
        </a:solidFill>
        <a:effectLst/>
      </p:bgPr>
    </p:bg>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a:stretch>
            <a:fillRect/>
          </a:stretch>
        </p:blipFill>
        <p:spPr>
          <a:xfrm>
            <a:off x="764527" y="833198"/>
            <a:ext cx="4431474" cy="4431474"/>
          </a:xfrm>
          <a:prstGeom prst="rect">
            <a:avLst/>
          </a:prstGeom>
        </p:spPr>
      </p:pic>
      <p:sp>
        <p:nvSpPr>
          <p:cNvPr id="2" name="TextBox 1"/>
          <p:cNvSpPr txBox="1"/>
          <p:nvPr userDrawn="1"/>
        </p:nvSpPr>
        <p:spPr>
          <a:xfrm>
            <a:off x="1003276" y="2169000"/>
            <a:ext cx="3768980" cy="1938992"/>
          </a:xfrm>
          <a:prstGeom prst="rect">
            <a:avLst/>
          </a:prstGeom>
          <a:noFill/>
        </p:spPr>
        <p:txBody>
          <a:bodyPr wrap="none" rtlCol="0">
            <a:spAutoFit/>
          </a:bodyPr>
          <a:lstStyle/>
          <a:p>
            <a:r>
              <a:rPr lang="en-US" sz="6000" dirty="0">
                <a:solidFill>
                  <a:srgbClr val="00188F"/>
                </a:solidFill>
                <a:latin typeface="Segoe UI Light"/>
                <a:cs typeface="Segoe UI Semibold" panose="020B0702040204020203" pitchFamily="34" charset="0"/>
              </a:rPr>
              <a:t>WINDOWS</a:t>
            </a:r>
            <a:endParaRPr lang="en-US" sz="6000" dirty="0">
              <a:solidFill>
                <a:srgbClr val="00188F"/>
              </a:solidFill>
            </a:endParaRPr>
          </a:p>
          <a:p>
            <a:r>
              <a:rPr lang="en-US" sz="6000" dirty="0">
                <a:solidFill>
                  <a:srgbClr val="00188F"/>
                </a:solidFill>
                <a:latin typeface="Segoe UI Semibold" panose="020B0702040204020203" pitchFamily="34" charset="0"/>
                <a:cs typeface="Segoe UI Semibold" panose="020B0702040204020203" pitchFamily="34" charset="0"/>
              </a:rPr>
              <a:t>CAMP</a:t>
            </a:r>
            <a:r>
              <a:rPr lang="en-US" sz="6000" baseline="30000" dirty="0">
                <a:solidFill>
                  <a:srgbClr val="00188F"/>
                </a:solidFill>
                <a:latin typeface="Segoe UI Semibold" panose="020B0702040204020203" pitchFamily="34" charset="0"/>
                <a:cs typeface="Segoe UI Semibold" panose="020B0702040204020203" pitchFamily="34" charset="0"/>
              </a:rPr>
              <a:t>’13</a:t>
            </a:r>
            <a:endParaRPr lang="ru-RU" sz="6000" baseline="30000" dirty="0">
              <a:solidFill>
                <a:srgbClr val="00188F"/>
              </a:solidFill>
              <a:latin typeface="Segoe UI Semibold" panose="020B0702040204020203" pitchFamily="34" charset="0"/>
              <a:cs typeface="Segoe UI Semibold" panose="020B0702040204020203" pitchFamily="34" charset="0"/>
            </a:endParaRPr>
          </a:p>
        </p:txBody>
      </p:sp>
      <p:sp>
        <p:nvSpPr>
          <p:cNvPr id="23" name="TextBox 22">
            <a:hlinkClick r:id="rId3"/>
          </p:cNvPr>
          <p:cNvSpPr txBox="1"/>
          <p:nvPr userDrawn="1"/>
        </p:nvSpPr>
        <p:spPr>
          <a:xfrm>
            <a:off x="1003276" y="5769000"/>
            <a:ext cx="3112724" cy="584775"/>
          </a:xfrm>
          <a:prstGeom prst="rect">
            <a:avLst/>
          </a:prstGeom>
          <a:noFill/>
        </p:spPr>
        <p:txBody>
          <a:bodyPr wrap="square" rtlCol="0">
            <a:spAutoFit/>
          </a:bodyPr>
          <a:lstStyle/>
          <a:p>
            <a:pPr>
              <a:defRPr/>
            </a:pPr>
            <a:r>
              <a:rPr lang="en-US" sz="3200" dirty="0">
                <a:solidFill>
                  <a:srgbClr val="FFFFFF"/>
                </a:solidFill>
                <a:latin typeface="Segoe UI Light"/>
              </a:rPr>
              <a:t>windowscamp.ru</a:t>
            </a:r>
          </a:p>
        </p:txBody>
      </p:sp>
    </p:spTree>
    <p:extLst>
      <p:ext uri="{BB962C8B-B14F-4D97-AF65-F5344CB8AC3E}">
        <p14:creationId xmlns:p14="http://schemas.microsoft.com/office/powerpoint/2010/main" val="51667039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First Slide">
    <p:bg>
      <p:bgPr>
        <a:solidFill>
          <a:schemeClr val="accent4"/>
        </a:solidFill>
        <a:effectLst/>
      </p:bgPr>
    </p:bg>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a:stretch>
            <a:fillRect/>
          </a:stretch>
        </p:blipFill>
        <p:spPr>
          <a:xfrm>
            <a:off x="764527" y="833198"/>
            <a:ext cx="4431474" cy="4431474"/>
          </a:xfrm>
          <a:prstGeom prst="rect">
            <a:avLst/>
          </a:prstGeom>
        </p:spPr>
      </p:pic>
      <p:sp>
        <p:nvSpPr>
          <p:cNvPr id="2" name="TextBox 1"/>
          <p:cNvSpPr txBox="1"/>
          <p:nvPr userDrawn="1"/>
        </p:nvSpPr>
        <p:spPr>
          <a:xfrm>
            <a:off x="1003276" y="2169000"/>
            <a:ext cx="3768980" cy="1938992"/>
          </a:xfrm>
          <a:prstGeom prst="rect">
            <a:avLst/>
          </a:prstGeom>
          <a:noFill/>
        </p:spPr>
        <p:txBody>
          <a:bodyPr wrap="none" rtlCol="0">
            <a:spAutoFit/>
          </a:bodyPr>
          <a:lstStyle/>
          <a:p>
            <a:r>
              <a:rPr lang="en-US" sz="6000" dirty="0">
                <a:solidFill>
                  <a:srgbClr val="00188F"/>
                </a:solidFill>
                <a:latin typeface="Segoe UI Light"/>
                <a:cs typeface="Segoe UI Semibold" panose="020B0702040204020203" pitchFamily="34" charset="0"/>
              </a:rPr>
              <a:t>WINDOWS</a:t>
            </a:r>
            <a:endParaRPr lang="en-US" sz="6000" dirty="0">
              <a:solidFill>
                <a:srgbClr val="00188F"/>
              </a:solidFill>
            </a:endParaRPr>
          </a:p>
          <a:p>
            <a:r>
              <a:rPr lang="en-US" sz="6000" dirty="0">
                <a:solidFill>
                  <a:srgbClr val="00188F"/>
                </a:solidFill>
                <a:latin typeface="Segoe UI Semibold" panose="020B0702040204020203" pitchFamily="34" charset="0"/>
                <a:cs typeface="Segoe UI Semibold" panose="020B0702040204020203" pitchFamily="34" charset="0"/>
              </a:rPr>
              <a:t>CAMP</a:t>
            </a:r>
            <a:r>
              <a:rPr lang="en-US" sz="6000" baseline="30000" dirty="0">
                <a:solidFill>
                  <a:srgbClr val="00188F"/>
                </a:solidFill>
                <a:latin typeface="Segoe UI Semibold" panose="020B0702040204020203" pitchFamily="34" charset="0"/>
                <a:cs typeface="Segoe UI Semibold" panose="020B0702040204020203" pitchFamily="34" charset="0"/>
              </a:rPr>
              <a:t>’13</a:t>
            </a:r>
            <a:endParaRPr lang="ru-RU" sz="6000" baseline="30000" dirty="0">
              <a:solidFill>
                <a:srgbClr val="00188F"/>
              </a:solidFill>
              <a:latin typeface="Segoe UI Semibold" panose="020B0702040204020203" pitchFamily="34" charset="0"/>
              <a:cs typeface="Segoe UI Semibold" panose="020B0702040204020203" pitchFamily="34" charset="0"/>
            </a:endParaRPr>
          </a:p>
        </p:txBody>
      </p:sp>
      <p:sp>
        <p:nvSpPr>
          <p:cNvPr id="5" name="Прямоугольник 8"/>
          <p:cNvSpPr/>
          <p:nvPr userDrawn="1"/>
        </p:nvSpPr>
        <p:spPr>
          <a:xfrm>
            <a:off x="5916000" y="2529000"/>
            <a:ext cx="4193777" cy="1200329"/>
          </a:xfrm>
          <a:prstGeom prst="rect">
            <a:avLst/>
          </a:prstGeom>
        </p:spPr>
        <p:txBody>
          <a:bodyPr wrap="none">
            <a:spAutoFit/>
          </a:bodyPr>
          <a:lstStyle/>
          <a:p>
            <a:pPr>
              <a:defRPr/>
            </a:pPr>
            <a:r>
              <a:rPr lang="en-US" sz="7200" dirty="0">
                <a:solidFill>
                  <a:srgbClr val="FFFFFF"/>
                </a:solidFill>
                <a:latin typeface="Segoe UI Light"/>
              </a:rPr>
              <a:t>#</a:t>
            </a:r>
            <a:r>
              <a:rPr lang="en-US" sz="7200" dirty="0" err="1">
                <a:solidFill>
                  <a:srgbClr val="FFFFFF"/>
                </a:solidFill>
                <a:latin typeface="Segoe UI Light"/>
              </a:rPr>
              <a:t>wincamp</a:t>
            </a:r>
            <a:endParaRPr lang="en-US" sz="7200" dirty="0">
              <a:solidFill>
                <a:srgbClr val="FFFFFF"/>
              </a:solidFill>
              <a:latin typeface="Segoe UI Light"/>
            </a:endParaRPr>
          </a:p>
        </p:txBody>
      </p:sp>
      <p:pic>
        <p:nvPicPr>
          <p:cNvPr id="6" name="Рисунок 20"/>
          <p:cNvPicPr>
            <a:picLocks noChangeAspect="1"/>
          </p:cNvPicPr>
          <p:nvPr userDrawn="1"/>
        </p:nvPicPr>
        <p:blipFill>
          <a:blip r:embed="rId3"/>
          <a:stretch>
            <a:fillRect/>
          </a:stretch>
        </p:blipFill>
        <p:spPr>
          <a:xfrm>
            <a:off x="10109777" y="2734566"/>
            <a:ext cx="390580" cy="314369"/>
          </a:xfrm>
          <a:prstGeom prst="rect">
            <a:avLst/>
          </a:prstGeom>
          <a:noFill/>
          <a:ln>
            <a:noFill/>
          </a:ln>
        </p:spPr>
      </p:pic>
      <p:sp>
        <p:nvSpPr>
          <p:cNvPr id="8" name="TextBox 7">
            <a:hlinkClick r:id="rId4"/>
          </p:cNvPr>
          <p:cNvSpPr txBox="1"/>
          <p:nvPr userDrawn="1"/>
        </p:nvSpPr>
        <p:spPr>
          <a:xfrm>
            <a:off x="1003276" y="5769000"/>
            <a:ext cx="3112724" cy="584775"/>
          </a:xfrm>
          <a:prstGeom prst="rect">
            <a:avLst/>
          </a:prstGeom>
          <a:noFill/>
        </p:spPr>
        <p:txBody>
          <a:bodyPr wrap="square" rtlCol="0">
            <a:spAutoFit/>
          </a:bodyPr>
          <a:lstStyle/>
          <a:p>
            <a:pPr>
              <a:defRPr/>
            </a:pPr>
            <a:r>
              <a:rPr lang="en-US" sz="3200" dirty="0">
                <a:solidFill>
                  <a:srgbClr val="FFFFFF"/>
                </a:solidFill>
                <a:latin typeface="Segoe UI Light"/>
              </a:rPr>
              <a:t>windowscamp.ru</a:t>
            </a:r>
          </a:p>
        </p:txBody>
      </p:sp>
    </p:spTree>
    <p:extLst>
      <p:ext uri="{BB962C8B-B14F-4D97-AF65-F5344CB8AC3E}">
        <p14:creationId xmlns:p14="http://schemas.microsoft.com/office/powerpoint/2010/main" val="36035346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Resources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1001" y="280419"/>
            <a:ext cx="11151917" cy="771151"/>
          </a:xfrm>
          <a:prstGeom prst="rect">
            <a:avLst/>
          </a:prstGeom>
        </p:spPr>
        <p:txBody>
          <a:bodyPr/>
          <a:lstStyle>
            <a:lvl1pPr>
              <a:defRPr>
                <a:solidFill>
                  <a:schemeClr val="tx1"/>
                </a:solidFill>
              </a:defRPr>
            </a:lvl1pPr>
          </a:lstStyle>
          <a:p>
            <a:r>
              <a:rPr lang="en-US" dirty="0" smtClean="0"/>
              <a:t>Click to edit Master title style</a:t>
            </a:r>
            <a:endParaRPr lang="en-US" dirty="0"/>
          </a:p>
        </p:txBody>
      </p:sp>
      <p:sp>
        <p:nvSpPr>
          <p:cNvPr id="5" name="Text Placeholder 4"/>
          <p:cNvSpPr>
            <a:spLocks noGrp="1"/>
          </p:cNvSpPr>
          <p:nvPr>
            <p:ph type="body" sz="quarter" idx="10" hasCustomPrompt="1"/>
          </p:nvPr>
        </p:nvSpPr>
        <p:spPr>
          <a:xfrm>
            <a:off x="377953" y="1402082"/>
            <a:ext cx="11151917" cy="1898981"/>
          </a:xfrm>
          <a:prstGeom prst="rect">
            <a:avLst/>
          </a:prstGeom>
        </p:spPr>
        <p:txBody>
          <a:bodyPr/>
          <a:lstStyle>
            <a:lvl1pPr marL="0" indent="0">
              <a:buNone/>
              <a:defRPr>
                <a:solidFill>
                  <a:schemeClr val="tx2"/>
                </a:solidFill>
              </a:defRPr>
            </a:lvl1pPr>
            <a:lvl2pPr marL="0" indent="0">
              <a:buNone/>
              <a:defRPr>
                <a:solidFill>
                  <a:schemeClr val="tx1"/>
                </a:solidFill>
                <a:latin typeface="+mj-lt"/>
              </a:defRPr>
            </a:lvl2pPr>
            <a:lvl3pPr marL="342900" indent="-342900">
              <a:buFont typeface="Wingdings" panose="05000000000000000000" pitchFamily="2" charset="2"/>
              <a:buChar char="§"/>
              <a:defRPr>
                <a:solidFill>
                  <a:schemeClr val="tx1"/>
                </a:solidFill>
                <a:latin typeface="+mj-lt"/>
              </a:defRPr>
            </a:lvl3pPr>
            <a:lvl4pPr marL="1371600" indent="0">
              <a:buNone/>
              <a:defRPr>
                <a:solidFill>
                  <a:schemeClr val="tx1"/>
                </a:solidFill>
              </a:defRPr>
            </a:lvl4pPr>
            <a:lvl5pPr marL="1828800" indent="0">
              <a:buNone/>
              <a:defRPr>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0"/>
            <a:endParaRPr lang="en-US" dirty="0" smtClean="0"/>
          </a:p>
        </p:txBody>
      </p:sp>
    </p:spTree>
    <p:extLst>
      <p:ext uri="{BB962C8B-B14F-4D97-AF65-F5344CB8AC3E}">
        <p14:creationId xmlns:p14="http://schemas.microsoft.com/office/powerpoint/2010/main" val="7336386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type="title" preserve="1">
  <p:cSld name="Session">
    <p:bg>
      <p:bgPr>
        <a:solidFill>
          <a:schemeClr val="accent4"/>
        </a:solidFill>
        <a:effectLst/>
      </p:bgPr>
    </p:bg>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0" y="1269000"/>
            <a:ext cx="12192000" cy="2880000"/>
          </a:xfrm>
          <a:solidFill>
            <a:schemeClr val="bg1"/>
          </a:solidFill>
        </p:spPr>
        <p:txBody>
          <a:bodyPr lIns="1080000" rIns="1080000" anchor="b"/>
          <a:lstStyle>
            <a:lvl1pPr algn="l">
              <a:defRPr sz="6000">
                <a:solidFill>
                  <a:schemeClr val="accent4">
                    <a:lumMod val="75000"/>
                  </a:schemeClr>
                </a:solidFill>
              </a:defRPr>
            </a:lvl1pPr>
          </a:lstStyle>
          <a:p>
            <a:r>
              <a:rPr lang="ru-RU" dirty="0" smtClean="0"/>
              <a:t>Образец заголовка</a:t>
            </a:r>
            <a:endParaRPr lang="ru-RU" dirty="0"/>
          </a:p>
        </p:txBody>
      </p:sp>
      <p:sp>
        <p:nvSpPr>
          <p:cNvPr id="3" name="Подзаголовок 2"/>
          <p:cNvSpPr>
            <a:spLocks noGrp="1"/>
          </p:cNvSpPr>
          <p:nvPr>
            <p:ph type="subTitle" idx="1"/>
          </p:nvPr>
        </p:nvSpPr>
        <p:spPr>
          <a:xfrm>
            <a:off x="1056000" y="4329000"/>
            <a:ext cx="9144000" cy="1452017"/>
          </a:xfrm>
        </p:spPr>
        <p:txBody>
          <a:bodyPr lIns="36000" rIns="36000">
            <a:normAutofit/>
          </a:bodyPr>
          <a:lstStyle>
            <a:lvl1pPr marL="0" indent="0" algn="l">
              <a:buNone/>
              <a:defRPr sz="3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dirty="0" smtClean="0"/>
              <a:t>Образец подзаголовка</a:t>
            </a:r>
            <a:endParaRPr lang="ru-RU" dirty="0"/>
          </a:p>
        </p:txBody>
      </p:sp>
      <p:pic>
        <p:nvPicPr>
          <p:cNvPr id="6" name="Picture 5"/>
          <p:cNvPicPr>
            <a:picLocks noChangeAspect="1"/>
          </p:cNvPicPr>
          <p:nvPr userDrawn="1"/>
        </p:nvPicPr>
        <p:blipFill rotWithShape="1">
          <a:blip r:embed="rId2" cstate="print">
            <a:extLst>
              <a:ext uri="{28A0092B-C50C-407E-A947-70E740481C1C}">
                <a14:useLocalDpi xmlns:a14="http://schemas.microsoft.com/office/drawing/2010/main" val="0"/>
              </a:ext>
            </a:extLst>
          </a:blip>
          <a:srcRect l="-1" r="70583"/>
          <a:stretch/>
        </p:blipFill>
        <p:spPr>
          <a:xfrm>
            <a:off x="11316000" y="5949000"/>
            <a:ext cx="616920" cy="762002"/>
          </a:xfrm>
          <a:prstGeom prst="rect">
            <a:avLst/>
          </a:prstGeom>
        </p:spPr>
      </p:pic>
    </p:spTree>
    <p:extLst>
      <p:ext uri="{BB962C8B-B14F-4D97-AF65-F5344CB8AC3E}">
        <p14:creationId xmlns:p14="http://schemas.microsoft.com/office/powerpoint/2010/main" val="2342275519"/>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title" preserve="1">
  <p:cSld name="Section">
    <p:bg>
      <p:bgPr>
        <a:solidFill>
          <a:schemeClr val="accent2"/>
        </a:solidFill>
        <a:effectLst/>
      </p:bgPr>
    </p:bg>
    <p:spTree>
      <p:nvGrpSpPr>
        <p:cNvPr id="1" name=""/>
        <p:cNvGrpSpPr/>
        <p:nvPr/>
      </p:nvGrpSpPr>
      <p:grpSpPr>
        <a:xfrm>
          <a:off x="0" y="0"/>
          <a:ext cx="0" cy="0"/>
          <a:chOff x="0" y="0"/>
          <a:chExt cx="0" cy="0"/>
        </a:xfrm>
      </p:grpSpPr>
      <p:sp>
        <p:nvSpPr>
          <p:cNvPr id="5" name="TextBox 4"/>
          <p:cNvSpPr txBox="1"/>
          <p:nvPr userDrawn="1"/>
        </p:nvSpPr>
        <p:spPr>
          <a:xfrm>
            <a:off x="11496000" y="6129000"/>
            <a:ext cx="595035" cy="584775"/>
          </a:xfrm>
          <a:prstGeom prst="rect">
            <a:avLst/>
          </a:prstGeom>
          <a:noFill/>
        </p:spPr>
        <p:txBody>
          <a:bodyPr wrap="none" rtlCol="0">
            <a:spAutoFit/>
          </a:bodyPr>
          <a:lstStyle/>
          <a:p>
            <a:r>
              <a:rPr lang="ru-RU" sz="3200" dirty="0">
                <a:solidFill>
                  <a:srgbClr val="FFFFFF"/>
                </a:solidFill>
                <a:ea typeface="Segoe UI Symbol" panose="020B0502040204020203" pitchFamily="34" charset="0"/>
              </a:rPr>
              <a:t></a:t>
            </a:r>
            <a:endParaRPr lang="ru-RU" sz="3200" dirty="0">
              <a:solidFill>
                <a:srgbClr val="FFFFFF"/>
              </a:solidFill>
            </a:endParaRPr>
          </a:p>
        </p:txBody>
      </p:sp>
      <p:sp>
        <p:nvSpPr>
          <p:cNvPr id="2" name="Заголовок 1"/>
          <p:cNvSpPr>
            <a:spLocks noGrp="1"/>
          </p:cNvSpPr>
          <p:nvPr>
            <p:ph type="ctrTitle" hasCustomPrompt="1"/>
          </p:nvPr>
        </p:nvSpPr>
        <p:spPr>
          <a:xfrm>
            <a:off x="0" y="1269000"/>
            <a:ext cx="12192000" cy="2880000"/>
          </a:xfrm>
          <a:solidFill>
            <a:schemeClr val="bg1"/>
          </a:solidFill>
        </p:spPr>
        <p:txBody>
          <a:bodyPr lIns="1080000" rIns="1080000" anchor="b"/>
          <a:lstStyle>
            <a:lvl1pPr algn="l">
              <a:defRPr sz="6000">
                <a:solidFill>
                  <a:schemeClr val="accent2">
                    <a:lumMod val="75000"/>
                  </a:schemeClr>
                </a:solidFill>
              </a:defRPr>
            </a:lvl1pPr>
          </a:lstStyle>
          <a:p>
            <a:r>
              <a:rPr lang="en-US" dirty="0" smtClean="0"/>
              <a:t/>
            </a:r>
            <a:br>
              <a:rPr lang="en-US" dirty="0" smtClean="0"/>
            </a:br>
            <a:r>
              <a:rPr lang="ru-RU" dirty="0" smtClean="0"/>
              <a:t>Образец заголовка</a:t>
            </a:r>
            <a:endParaRPr lang="ru-RU" dirty="0"/>
          </a:p>
        </p:txBody>
      </p:sp>
      <p:sp>
        <p:nvSpPr>
          <p:cNvPr id="3" name="Подзаголовок 2"/>
          <p:cNvSpPr>
            <a:spLocks noGrp="1"/>
          </p:cNvSpPr>
          <p:nvPr>
            <p:ph type="subTitle" idx="1"/>
          </p:nvPr>
        </p:nvSpPr>
        <p:spPr>
          <a:xfrm>
            <a:off x="1056000" y="4329000"/>
            <a:ext cx="9144000" cy="1452017"/>
          </a:xfrm>
        </p:spPr>
        <p:txBody>
          <a:bodyPr lIns="36000" rIns="36000">
            <a:normAutofit/>
          </a:bodyPr>
          <a:lstStyle>
            <a:lvl1pPr marL="0" indent="0" algn="l">
              <a:buNone/>
              <a:defRPr sz="3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dirty="0" smtClean="0"/>
              <a:t>Образец подзаголовка</a:t>
            </a:r>
            <a:endParaRPr lang="ru-RU" dirty="0"/>
          </a:p>
        </p:txBody>
      </p:sp>
    </p:spTree>
    <p:extLst>
      <p:ext uri="{BB962C8B-B14F-4D97-AF65-F5344CB8AC3E}">
        <p14:creationId xmlns:p14="http://schemas.microsoft.com/office/powerpoint/2010/main" val="422438501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peaker">
    <p:bg>
      <p:bgPr>
        <a:solidFill>
          <a:schemeClr val="accent1"/>
        </a:solidFill>
        <a:effectLst/>
      </p:bgPr>
    </p:bg>
    <p:spTree>
      <p:nvGrpSpPr>
        <p:cNvPr id="1" name=""/>
        <p:cNvGrpSpPr/>
        <p:nvPr/>
      </p:nvGrpSpPr>
      <p:grpSpPr>
        <a:xfrm>
          <a:off x="0" y="0"/>
          <a:ext cx="0" cy="0"/>
          <a:chOff x="0" y="0"/>
          <a:chExt cx="0" cy="0"/>
        </a:xfrm>
      </p:grpSpPr>
      <p:sp>
        <p:nvSpPr>
          <p:cNvPr id="2" name="Заголовок 1"/>
          <p:cNvSpPr>
            <a:spLocks noGrp="1"/>
          </p:cNvSpPr>
          <p:nvPr>
            <p:ph type="ctrTitle" hasCustomPrompt="1"/>
          </p:nvPr>
        </p:nvSpPr>
        <p:spPr>
          <a:xfrm>
            <a:off x="0" y="1269000"/>
            <a:ext cx="12192000" cy="2880000"/>
          </a:xfrm>
          <a:solidFill>
            <a:schemeClr val="bg1"/>
          </a:solidFill>
        </p:spPr>
        <p:txBody>
          <a:bodyPr lIns="1080000" rIns="1080000" anchor="b"/>
          <a:lstStyle>
            <a:lvl1pPr algn="l">
              <a:defRPr sz="6000">
                <a:solidFill>
                  <a:schemeClr val="accent1">
                    <a:lumMod val="75000"/>
                  </a:schemeClr>
                </a:solidFill>
              </a:defRPr>
            </a:lvl1pPr>
          </a:lstStyle>
          <a:p>
            <a:r>
              <a:rPr lang="en-US" dirty="0" smtClean="0"/>
              <a:t/>
            </a:r>
            <a:br>
              <a:rPr lang="en-US" dirty="0" smtClean="0"/>
            </a:br>
            <a:r>
              <a:rPr lang="ru-RU" dirty="0" smtClean="0"/>
              <a:t>Образец заголовка</a:t>
            </a:r>
            <a:endParaRPr lang="ru-RU" dirty="0"/>
          </a:p>
        </p:txBody>
      </p:sp>
      <p:sp>
        <p:nvSpPr>
          <p:cNvPr id="3" name="Подзаголовок 2"/>
          <p:cNvSpPr>
            <a:spLocks noGrp="1"/>
          </p:cNvSpPr>
          <p:nvPr>
            <p:ph type="subTitle" idx="1"/>
          </p:nvPr>
        </p:nvSpPr>
        <p:spPr>
          <a:xfrm>
            <a:off x="1056000" y="4329000"/>
            <a:ext cx="8460000" cy="1452017"/>
          </a:xfrm>
        </p:spPr>
        <p:txBody>
          <a:bodyPr lIns="36000" rIns="36000">
            <a:normAutofit/>
          </a:bodyPr>
          <a:lstStyle>
            <a:lvl1pPr marL="0" indent="0" algn="l">
              <a:buNone/>
              <a:defRPr sz="3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dirty="0" smtClean="0"/>
              <a:t>Образец подзаголовка</a:t>
            </a:r>
            <a:endParaRPr lang="ru-RU" dirty="0"/>
          </a:p>
        </p:txBody>
      </p:sp>
      <p:sp>
        <p:nvSpPr>
          <p:cNvPr id="6" name="Рисунок 5"/>
          <p:cNvSpPr>
            <a:spLocks noGrp="1"/>
          </p:cNvSpPr>
          <p:nvPr>
            <p:ph type="pic" sz="quarter" idx="10"/>
          </p:nvPr>
        </p:nvSpPr>
        <p:spPr>
          <a:xfrm>
            <a:off x="9651368" y="1628706"/>
            <a:ext cx="2159000" cy="2160587"/>
          </a:xfrm>
          <a:prstGeom prst="wedgeEllipseCallout">
            <a:avLst>
              <a:gd name="adj1" fmla="val -47657"/>
              <a:gd name="adj2" fmla="val 51214"/>
            </a:avLst>
          </a:prstGeom>
          <a:solidFill>
            <a:schemeClr val="tx2"/>
          </a:solidFill>
        </p:spPr>
        <p:txBody>
          <a:bodyPr/>
          <a:lstStyle/>
          <a:p>
            <a:endParaRPr lang="ru-RU"/>
          </a:p>
        </p:txBody>
      </p:sp>
      <p:sp>
        <p:nvSpPr>
          <p:cNvPr id="5" name="Rectangle 4"/>
          <p:cNvSpPr/>
          <p:nvPr userDrawn="1"/>
        </p:nvSpPr>
        <p:spPr>
          <a:xfrm>
            <a:off x="5888251" y="3244334"/>
            <a:ext cx="415498" cy="369332"/>
          </a:xfrm>
          <a:prstGeom prst="rect">
            <a:avLst/>
          </a:prstGeom>
        </p:spPr>
        <p:txBody>
          <a:bodyPr wrap="none">
            <a:spAutoFit/>
          </a:bodyPr>
          <a:lstStyle/>
          <a:p>
            <a:r>
              <a:rPr lang="ru-RU" dirty="0">
                <a:solidFill>
                  <a:srgbClr val="FFFFFF"/>
                </a:solidFill>
                <a:ea typeface="Segoe UI Symbol" panose="020B0502040204020203" pitchFamily="34" charset="0"/>
              </a:rPr>
              <a:t></a:t>
            </a:r>
            <a:endParaRPr lang="ru-RU" dirty="0">
              <a:solidFill>
                <a:srgbClr val="FFFFFF"/>
              </a:solidFill>
            </a:endParaRPr>
          </a:p>
        </p:txBody>
      </p:sp>
      <p:sp>
        <p:nvSpPr>
          <p:cNvPr id="9" name="TextBox 8"/>
          <p:cNvSpPr txBox="1"/>
          <p:nvPr userDrawn="1"/>
        </p:nvSpPr>
        <p:spPr>
          <a:xfrm>
            <a:off x="11496000" y="6129000"/>
            <a:ext cx="595035" cy="584775"/>
          </a:xfrm>
          <a:prstGeom prst="rect">
            <a:avLst/>
          </a:prstGeom>
          <a:noFill/>
        </p:spPr>
        <p:txBody>
          <a:bodyPr wrap="none" rtlCol="0">
            <a:spAutoFit/>
          </a:bodyPr>
          <a:lstStyle/>
          <a:p>
            <a:r>
              <a:rPr lang="ru-RU" sz="3200" dirty="0">
                <a:solidFill>
                  <a:srgbClr val="FFFFFF"/>
                </a:solidFill>
                <a:ea typeface="Segoe UI Symbol" panose="020B0502040204020203" pitchFamily="34" charset="0"/>
              </a:rPr>
              <a:t></a:t>
            </a:r>
            <a:endParaRPr lang="ru-RU" sz="3200" dirty="0">
              <a:solidFill>
                <a:srgbClr val="FFFFFF"/>
              </a:solidFill>
            </a:endParaRPr>
          </a:p>
        </p:txBody>
      </p:sp>
    </p:spTree>
    <p:extLst>
      <p:ext uri="{BB962C8B-B14F-4D97-AF65-F5344CB8AC3E}">
        <p14:creationId xmlns:p14="http://schemas.microsoft.com/office/powerpoint/2010/main" val="617432830"/>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title" preserve="1">
  <p:cSld name="Demo">
    <p:bg>
      <p:bgPr>
        <a:solidFill>
          <a:srgbClr val="8C0095"/>
        </a:solidFill>
        <a:effectLst/>
      </p:bgPr>
    </p:bg>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0" y="1269000"/>
            <a:ext cx="12192000" cy="2880000"/>
          </a:xfrm>
          <a:solidFill>
            <a:schemeClr val="bg1"/>
          </a:solidFill>
        </p:spPr>
        <p:txBody>
          <a:bodyPr lIns="1080000" rIns="1080000" anchor="b"/>
          <a:lstStyle>
            <a:lvl1pPr algn="l">
              <a:defRPr sz="6000">
                <a:solidFill>
                  <a:srgbClr val="8C0095"/>
                </a:solidFill>
              </a:defRPr>
            </a:lvl1pPr>
          </a:lstStyle>
          <a:p>
            <a:r>
              <a:rPr lang="ru-RU" dirty="0" smtClean="0"/>
              <a:t>Образец заголовка</a:t>
            </a:r>
            <a:endParaRPr lang="ru-RU" dirty="0"/>
          </a:p>
        </p:txBody>
      </p:sp>
      <p:sp>
        <p:nvSpPr>
          <p:cNvPr id="3" name="Подзаголовок 2"/>
          <p:cNvSpPr>
            <a:spLocks noGrp="1"/>
          </p:cNvSpPr>
          <p:nvPr>
            <p:ph type="subTitle" idx="1"/>
          </p:nvPr>
        </p:nvSpPr>
        <p:spPr>
          <a:xfrm>
            <a:off x="1056000" y="4329000"/>
            <a:ext cx="9144000" cy="1452017"/>
          </a:xfrm>
        </p:spPr>
        <p:txBody>
          <a:bodyPr lIns="36000" rIns="36000">
            <a:normAutofit/>
          </a:bodyPr>
          <a:lstStyle>
            <a:lvl1pPr marL="0" indent="0" algn="l">
              <a:buNone/>
              <a:defRPr sz="3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dirty="0" smtClean="0"/>
              <a:t>Образец подзаголовка</a:t>
            </a:r>
            <a:endParaRPr lang="ru-RU" dirty="0"/>
          </a:p>
        </p:txBody>
      </p:sp>
      <p:sp>
        <p:nvSpPr>
          <p:cNvPr id="5" name="TextBox 4"/>
          <p:cNvSpPr txBox="1"/>
          <p:nvPr userDrawn="1"/>
        </p:nvSpPr>
        <p:spPr>
          <a:xfrm>
            <a:off x="1056000" y="904334"/>
            <a:ext cx="733140" cy="369332"/>
          </a:xfrm>
          <a:prstGeom prst="rect">
            <a:avLst/>
          </a:prstGeom>
          <a:noFill/>
        </p:spPr>
        <p:txBody>
          <a:bodyPr wrap="none" lIns="36000" rIns="36000" rtlCol="0">
            <a:spAutoFit/>
          </a:bodyPr>
          <a:lstStyle/>
          <a:p>
            <a:r>
              <a:rPr lang="en-US" dirty="0">
                <a:solidFill>
                  <a:srgbClr val="FFFFFF"/>
                </a:solidFill>
              </a:rPr>
              <a:t>DEMO</a:t>
            </a:r>
            <a:endParaRPr lang="ru-RU" dirty="0">
              <a:solidFill>
                <a:srgbClr val="FFFFFF"/>
              </a:solidFill>
            </a:endParaRPr>
          </a:p>
        </p:txBody>
      </p:sp>
      <p:pic>
        <p:nvPicPr>
          <p:cNvPr id="6" name="Picture 5"/>
          <p:cNvPicPr>
            <a:picLocks noChangeAspect="1"/>
          </p:cNvPicPr>
          <p:nvPr userDrawn="1"/>
        </p:nvPicPr>
        <p:blipFill rotWithShape="1">
          <a:blip r:embed="rId2" cstate="print">
            <a:extLst>
              <a:ext uri="{28A0092B-C50C-407E-A947-70E740481C1C}">
                <a14:useLocalDpi xmlns:a14="http://schemas.microsoft.com/office/drawing/2010/main" val="0"/>
              </a:ext>
            </a:extLst>
          </a:blip>
          <a:srcRect l="-1" r="70583"/>
          <a:stretch/>
        </p:blipFill>
        <p:spPr>
          <a:xfrm>
            <a:off x="11316000" y="5949000"/>
            <a:ext cx="616920" cy="762002"/>
          </a:xfrm>
          <a:prstGeom prst="rect">
            <a:avLst/>
          </a:prstGeom>
        </p:spPr>
      </p:pic>
    </p:spTree>
    <p:extLst>
      <p:ext uri="{BB962C8B-B14F-4D97-AF65-F5344CB8AC3E}">
        <p14:creationId xmlns:p14="http://schemas.microsoft.com/office/powerpoint/2010/main" val="1850277052"/>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title" preserve="1">
  <p:cSld name="Demo VS">
    <p:bg>
      <p:bgPr>
        <a:solidFill>
          <a:srgbClr val="8C0095"/>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l="-1" r="70583"/>
          <a:stretch/>
        </p:blipFill>
        <p:spPr>
          <a:xfrm>
            <a:off x="11316000" y="5949000"/>
            <a:ext cx="616920" cy="762002"/>
          </a:xfrm>
          <a:prstGeom prst="rect">
            <a:avLst/>
          </a:prstGeom>
        </p:spPr>
      </p:pic>
      <p:sp>
        <p:nvSpPr>
          <p:cNvPr id="2" name="Заголовок 1"/>
          <p:cNvSpPr>
            <a:spLocks noGrp="1"/>
          </p:cNvSpPr>
          <p:nvPr>
            <p:ph type="ctrTitle"/>
          </p:nvPr>
        </p:nvSpPr>
        <p:spPr>
          <a:xfrm>
            <a:off x="0" y="1285276"/>
            <a:ext cx="12192000" cy="2880000"/>
          </a:xfrm>
          <a:solidFill>
            <a:schemeClr val="bg1"/>
          </a:solidFill>
        </p:spPr>
        <p:txBody>
          <a:bodyPr lIns="1080000" rIns="1080000" anchor="b"/>
          <a:lstStyle>
            <a:lvl1pPr algn="l">
              <a:defRPr sz="6000">
                <a:solidFill>
                  <a:srgbClr val="8C0095"/>
                </a:solidFill>
              </a:defRPr>
            </a:lvl1pPr>
          </a:lstStyle>
          <a:p>
            <a:r>
              <a:rPr lang="ru-RU" dirty="0" smtClean="0"/>
              <a:t>Образец заголовка</a:t>
            </a:r>
            <a:endParaRPr lang="ru-RU" dirty="0"/>
          </a:p>
        </p:txBody>
      </p:sp>
      <p:sp>
        <p:nvSpPr>
          <p:cNvPr id="3" name="Подзаголовок 2"/>
          <p:cNvSpPr>
            <a:spLocks noGrp="1"/>
          </p:cNvSpPr>
          <p:nvPr>
            <p:ph type="subTitle" idx="1"/>
          </p:nvPr>
        </p:nvSpPr>
        <p:spPr>
          <a:xfrm>
            <a:off x="1056000" y="4329000"/>
            <a:ext cx="9144000" cy="1452017"/>
          </a:xfrm>
        </p:spPr>
        <p:txBody>
          <a:bodyPr lIns="36000" rIns="36000">
            <a:normAutofit/>
          </a:bodyPr>
          <a:lstStyle>
            <a:lvl1pPr marL="0" indent="0" algn="l">
              <a:buNone/>
              <a:defRPr sz="3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dirty="0" smtClean="0"/>
              <a:t>Образец подзаголовка</a:t>
            </a:r>
            <a:endParaRPr lang="ru-RU" dirty="0"/>
          </a:p>
        </p:txBody>
      </p:sp>
      <p:pic>
        <p:nvPicPr>
          <p:cNvPr id="4" name="Рисунок 3"/>
          <p:cNvPicPr>
            <a:picLocks noChangeAspect="1"/>
          </p:cNvPicPr>
          <p:nvPr userDrawn="1"/>
        </p:nvPicPr>
        <p:blipFill>
          <a:blip r:embed="rId3"/>
          <a:stretch>
            <a:fillRect/>
          </a:stretch>
        </p:blipFill>
        <p:spPr>
          <a:xfrm>
            <a:off x="11624460" y="1449000"/>
            <a:ext cx="352474" cy="362001"/>
          </a:xfrm>
          <a:prstGeom prst="rect">
            <a:avLst/>
          </a:prstGeom>
          <a:noFill/>
          <a:ln>
            <a:noFill/>
          </a:ln>
        </p:spPr>
      </p:pic>
      <p:sp>
        <p:nvSpPr>
          <p:cNvPr id="5" name="TextBox 4"/>
          <p:cNvSpPr txBox="1"/>
          <p:nvPr userDrawn="1"/>
        </p:nvSpPr>
        <p:spPr>
          <a:xfrm>
            <a:off x="1056000" y="904334"/>
            <a:ext cx="733140" cy="369332"/>
          </a:xfrm>
          <a:prstGeom prst="rect">
            <a:avLst/>
          </a:prstGeom>
          <a:noFill/>
        </p:spPr>
        <p:txBody>
          <a:bodyPr wrap="none" lIns="36000" rIns="36000" rtlCol="0">
            <a:spAutoFit/>
          </a:bodyPr>
          <a:lstStyle/>
          <a:p>
            <a:r>
              <a:rPr lang="en-US" dirty="0">
                <a:solidFill>
                  <a:srgbClr val="FFFFFF"/>
                </a:solidFill>
              </a:rPr>
              <a:t>DEMO</a:t>
            </a:r>
            <a:endParaRPr lang="ru-RU" dirty="0">
              <a:solidFill>
                <a:srgbClr val="FFFFFF"/>
              </a:solidFill>
            </a:endParaRPr>
          </a:p>
        </p:txBody>
      </p:sp>
    </p:spTree>
    <p:extLst>
      <p:ext uri="{BB962C8B-B14F-4D97-AF65-F5344CB8AC3E}">
        <p14:creationId xmlns:p14="http://schemas.microsoft.com/office/powerpoint/2010/main" val="376520393"/>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idx="1"/>
          </p:nvPr>
        </p:nvSpPr>
        <p:spPr/>
        <p:txBody>
          <a:bodyPr/>
          <a:lstStyle/>
          <a:p>
            <a:pPr lvl="0"/>
            <a:r>
              <a:rPr lang="ru-RU" dirty="0" smtClean="0"/>
              <a:t>Образец текста</a:t>
            </a:r>
          </a:p>
          <a:p>
            <a:pPr lvl="1"/>
            <a:r>
              <a:rPr lang="ru-RU" dirty="0" smtClean="0"/>
              <a:t>Второй уровень</a:t>
            </a:r>
          </a:p>
          <a:p>
            <a:pPr lvl="2"/>
            <a:r>
              <a:rPr lang="ru-RU" dirty="0" smtClean="0"/>
              <a:t>Третий уровень</a:t>
            </a:r>
          </a:p>
        </p:txBody>
      </p:sp>
    </p:spTree>
    <p:extLst>
      <p:ext uri="{BB962C8B-B14F-4D97-AF65-F5344CB8AC3E}">
        <p14:creationId xmlns:p14="http://schemas.microsoft.com/office/powerpoint/2010/main" val="2656855408"/>
      </p:ext>
    </p:extLst>
  </p:cSld>
  <p:clrMapOvr>
    <a:masterClrMapping/>
  </p:clrMapOvr>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type="obj" preserve="1">
  <p:cSld name="Title and content (text wo bullets)">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idx="1"/>
          </p:nvPr>
        </p:nvSpPr>
        <p:spPr/>
        <p:txBody>
          <a:bodyPr/>
          <a:lstStyle>
            <a:lvl1pPr marL="0" indent="0">
              <a:buNone/>
              <a:defRPr lang="en-US" dirty="0" smtClean="0"/>
            </a:lvl1pPr>
            <a:lvl2pPr marL="0" indent="0">
              <a:buNone/>
              <a:defRPr/>
            </a:lvl2pPr>
            <a:lvl3pPr marL="273050" indent="-185738">
              <a:buFont typeface="Wingdings" panose="05000000000000000000" pitchFamily="2" charset="2"/>
              <a:buChar char="§"/>
              <a:defRPr/>
            </a:lvl3pPr>
            <a:lvl4pPr marL="1371600" indent="0">
              <a:buNone/>
              <a:defRPr/>
            </a:lvl4pPr>
            <a:lvl5pPr marL="1828800" indent="0">
              <a:buNone/>
              <a:defRPr/>
            </a:lvl5pPr>
          </a:lstStyle>
          <a:p>
            <a:pPr lvl="0"/>
            <a:r>
              <a:rPr lang="ru-RU" dirty="0" smtClean="0"/>
              <a:t>Образец текста</a:t>
            </a:r>
            <a:endParaRPr lang="en-US" dirty="0" smtClean="0"/>
          </a:p>
          <a:p>
            <a:pPr lvl="1"/>
            <a:r>
              <a:rPr lang="ru-RU" dirty="0" smtClean="0"/>
              <a:t>Второй уровень</a:t>
            </a:r>
          </a:p>
          <a:p>
            <a:pPr lvl="2"/>
            <a:r>
              <a:rPr lang="ru-RU" dirty="0" smtClean="0"/>
              <a:t>Третий уровень</a:t>
            </a:r>
            <a:endParaRPr lang="ru-RU" dirty="0"/>
          </a:p>
        </p:txBody>
      </p:sp>
    </p:spTree>
    <p:extLst>
      <p:ext uri="{BB962C8B-B14F-4D97-AF65-F5344CB8AC3E}">
        <p14:creationId xmlns:p14="http://schemas.microsoft.com/office/powerpoint/2010/main" val="3576792139"/>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obj" preserve="1">
  <p:cSld name="Код">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idx="1" hasCustomPrompt="1"/>
          </p:nvPr>
        </p:nvSpPr>
        <p:spPr>
          <a:xfrm>
            <a:off x="1056000" y="1449000"/>
            <a:ext cx="10297800" cy="4860000"/>
          </a:xfrm>
          <a:gradFill flip="none" rotWithShape="1">
            <a:gsLst>
              <a:gs pos="1000">
                <a:schemeClr val="accent4"/>
              </a:gs>
              <a:gs pos="1000">
                <a:schemeClr val="bg1">
                  <a:alpha val="99000"/>
                </a:schemeClr>
              </a:gs>
            </a:gsLst>
            <a:lin ang="0" scaled="1"/>
            <a:tileRect/>
          </a:gradFill>
          <a:ln>
            <a:noFill/>
          </a:ln>
        </p:spPr>
        <p:txBody>
          <a:bodyPr lIns="180000">
            <a:normAutofit/>
          </a:bodyPr>
          <a:lstStyle>
            <a:lvl1pPr marL="0" indent="0">
              <a:spcBef>
                <a:spcPts val="600"/>
              </a:spcBef>
              <a:buFont typeface="Arial" panose="020B0604020202020204" pitchFamily="34" charset="0"/>
              <a:buNone/>
              <a:defRPr sz="1800" baseline="0">
                <a:solidFill>
                  <a:schemeClr val="tx2"/>
                </a:solidFill>
                <a:latin typeface="Consolas" panose="020B0609020204030204" pitchFamily="49" charset="0"/>
                <a:cs typeface="Consolas" panose="020B0609020204030204" pitchFamily="49" charset="0"/>
              </a:defRPr>
            </a:lvl1pPr>
            <a:lvl2pPr marL="360363" indent="0">
              <a:spcBef>
                <a:spcPts val="600"/>
              </a:spcBef>
              <a:buFont typeface="Arial" panose="020B0604020202020204" pitchFamily="34" charset="0"/>
              <a:buNone/>
              <a:defRPr sz="1800">
                <a:solidFill>
                  <a:schemeClr val="tx2"/>
                </a:solidFill>
                <a:latin typeface="Consolas" panose="020B0609020204030204" pitchFamily="49" charset="0"/>
                <a:cs typeface="Consolas" panose="020B0609020204030204" pitchFamily="49" charset="0"/>
              </a:defRPr>
            </a:lvl2pPr>
            <a:lvl3pPr marL="719138" indent="0">
              <a:spcBef>
                <a:spcPts val="600"/>
              </a:spcBef>
              <a:buFont typeface="Wingdings" panose="05000000000000000000" pitchFamily="2" charset="2"/>
              <a:buNone/>
              <a:defRPr sz="1800">
                <a:solidFill>
                  <a:schemeClr val="tx2"/>
                </a:solidFill>
                <a:latin typeface="Consolas" panose="020B0609020204030204" pitchFamily="49" charset="0"/>
                <a:cs typeface="Consolas" panose="020B0609020204030204" pitchFamily="49" charset="0"/>
              </a:defRPr>
            </a:lvl3pPr>
            <a:lvl4pPr marL="1079500" indent="0">
              <a:spcBef>
                <a:spcPts val="600"/>
              </a:spcBef>
              <a:buNone/>
              <a:defRPr sz="1800">
                <a:latin typeface="Consolas" panose="020B0609020204030204" pitchFamily="49" charset="0"/>
                <a:cs typeface="Consolas" panose="020B0609020204030204" pitchFamily="49" charset="0"/>
              </a:defRPr>
            </a:lvl4pPr>
            <a:lvl5pPr marL="1439863" indent="0">
              <a:spcBef>
                <a:spcPts val="600"/>
              </a:spcBef>
              <a:buNone/>
              <a:defRPr>
                <a:latin typeface="Consolas" panose="020B0609020204030204" pitchFamily="49" charset="0"/>
                <a:cs typeface="Consolas" panose="020B0609020204030204" pitchFamily="49" charset="0"/>
              </a:defRPr>
            </a:lvl5pPr>
          </a:lstStyle>
          <a:p>
            <a:pPr lvl="0"/>
            <a:r>
              <a:rPr lang="en-US" dirty="0" smtClean="0"/>
              <a:t>Line 1</a:t>
            </a:r>
          </a:p>
          <a:p>
            <a:pPr lvl="1"/>
            <a:r>
              <a:rPr lang="en-US" dirty="0" smtClean="0"/>
              <a:t>Line 2</a:t>
            </a:r>
          </a:p>
          <a:p>
            <a:pPr lvl="2"/>
            <a:r>
              <a:rPr lang="en-US" dirty="0" smtClean="0"/>
              <a:t>Line 3</a:t>
            </a:r>
          </a:p>
          <a:p>
            <a:pPr lvl="3"/>
            <a:r>
              <a:rPr lang="en-US" dirty="0" smtClean="0"/>
              <a:t>Line 4</a:t>
            </a:r>
          </a:p>
          <a:p>
            <a:pPr lvl="4"/>
            <a:r>
              <a:rPr lang="en-US" dirty="0" smtClean="0"/>
              <a:t>Line 5</a:t>
            </a:r>
            <a:endParaRPr lang="ru-RU" dirty="0"/>
          </a:p>
        </p:txBody>
      </p:sp>
    </p:spTree>
    <p:extLst>
      <p:ext uri="{BB962C8B-B14F-4D97-AF65-F5344CB8AC3E}">
        <p14:creationId xmlns:p14="http://schemas.microsoft.com/office/powerpoint/2010/main" val="1257287305"/>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Tree>
    <p:extLst>
      <p:ext uri="{BB962C8B-B14F-4D97-AF65-F5344CB8AC3E}">
        <p14:creationId xmlns:p14="http://schemas.microsoft.com/office/powerpoint/2010/main" val="3149878296"/>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7534833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 speaker">
    <p:bg>
      <p:bgPr>
        <a:solidFill>
          <a:srgbClr val="F5F5F5"/>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5" hasCustomPrompt="1"/>
          </p:nvPr>
        </p:nvSpPr>
        <p:spPr>
          <a:xfrm>
            <a:off x="496438" y="4332300"/>
            <a:ext cx="5524486" cy="491951"/>
          </a:xfrm>
          <a:prstGeom prst="rect">
            <a:avLst/>
          </a:prstGeom>
        </p:spPr>
        <p:txBody>
          <a:bodyPr/>
          <a:lstStyle>
            <a:lvl1pPr marL="0" indent="0" algn="l">
              <a:lnSpc>
                <a:spcPct val="100000"/>
              </a:lnSpc>
              <a:spcBef>
                <a:spcPts val="0"/>
              </a:spcBef>
              <a:buNone/>
              <a:defRPr sz="2400">
                <a:solidFill>
                  <a:schemeClr val="tx1"/>
                </a:solidFill>
                <a:latin typeface="+mj-lt"/>
              </a:defRPr>
            </a:lvl1pPr>
          </a:lstStyle>
          <a:p>
            <a:pPr lvl="0"/>
            <a:r>
              <a:rPr lang="en-US" dirty="0" smtClean="0"/>
              <a:t>NAME SURNAME</a:t>
            </a:r>
            <a:endParaRPr lang="ru-RU" dirty="0"/>
          </a:p>
        </p:txBody>
      </p:sp>
      <p:sp>
        <p:nvSpPr>
          <p:cNvPr id="13" name="Text Placeholder 7"/>
          <p:cNvSpPr>
            <a:spLocks noGrp="1"/>
          </p:cNvSpPr>
          <p:nvPr>
            <p:ph type="body" sz="quarter" idx="20" hasCustomPrompt="1"/>
          </p:nvPr>
        </p:nvSpPr>
        <p:spPr>
          <a:xfrm>
            <a:off x="496438" y="4770408"/>
            <a:ext cx="5524486" cy="373436"/>
          </a:xfrm>
          <a:prstGeom prst="rect">
            <a:avLst/>
          </a:prstGeom>
        </p:spPr>
        <p:txBody>
          <a:bodyPr/>
          <a:lstStyle>
            <a:lvl1pPr marL="0" indent="0" algn="l">
              <a:lnSpc>
                <a:spcPct val="100000"/>
              </a:lnSpc>
              <a:spcBef>
                <a:spcPts val="0"/>
              </a:spcBef>
              <a:buNone/>
              <a:defRPr sz="1600">
                <a:solidFill>
                  <a:schemeClr val="tx1"/>
                </a:solidFill>
                <a:latin typeface="+mj-lt"/>
              </a:defRPr>
            </a:lvl1pPr>
          </a:lstStyle>
          <a:p>
            <a:pPr lvl="0"/>
            <a:r>
              <a:rPr lang="en-US" dirty="0" smtClean="0"/>
              <a:t>Title, Company</a:t>
            </a:r>
            <a:endParaRPr lang="ru-RU" dirty="0"/>
          </a:p>
        </p:txBody>
      </p:sp>
      <p:sp>
        <p:nvSpPr>
          <p:cNvPr id="7" name="Text Placeholder 7"/>
          <p:cNvSpPr>
            <a:spLocks noGrp="1"/>
          </p:cNvSpPr>
          <p:nvPr>
            <p:ph type="body" sz="quarter" idx="28" hasCustomPrompt="1"/>
          </p:nvPr>
        </p:nvSpPr>
        <p:spPr>
          <a:xfrm>
            <a:off x="496438" y="5050335"/>
            <a:ext cx="5524486" cy="1111478"/>
          </a:xfrm>
          <a:prstGeom prst="rect">
            <a:avLst/>
          </a:prstGeom>
        </p:spPr>
        <p:txBody>
          <a:bodyPr/>
          <a:lstStyle>
            <a:lvl1pPr marL="0" indent="0" algn="l">
              <a:lnSpc>
                <a:spcPct val="100000"/>
              </a:lnSpc>
              <a:spcBef>
                <a:spcPts val="0"/>
              </a:spcBef>
              <a:buNone/>
              <a:defRPr sz="1600">
                <a:solidFill>
                  <a:schemeClr val="tx1"/>
                </a:solidFill>
                <a:latin typeface="+mj-lt"/>
              </a:defRPr>
            </a:lvl1pPr>
          </a:lstStyle>
          <a:p>
            <a:pPr lvl="0"/>
            <a:r>
              <a:rPr lang="en-US" dirty="0" smtClean="0"/>
              <a:t>Contacts</a:t>
            </a:r>
            <a:endParaRPr lang="ru-RU" dirty="0"/>
          </a:p>
        </p:txBody>
      </p:sp>
      <p:sp>
        <p:nvSpPr>
          <p:cNvPr id="10" name="Text Placeholder 7"/>
          <p:cNvSpPr>
            <a:spLocks noGrp="1"/>
          </p:cNvSpPr>
          <p:nvPr>
            <p:ph type="body" sz="quarter" idx="29" hasCustomPrompt="1"/>
          </p:nvPr>
        </p:nvSpPr>
        <p:spPr>
          <a:xfrm>
            <a:off x="496438" y="3260488"/>
            <a:ext cx="11026777" cy="965283"/>
          </a:xfrm>
          <a:prstGeom prst="rect">
            <a:avLst/>
          </a:prstGeom>
        </p:spPr>
        <p:txBody>
          <a:bodyPr anchor="b"/>
          <a:lstStyle>
            <a:lvl1pPr marL="0" indent="0" algn="l">
              <a:lnSpc>
                <a:spcPct val="100000"/>
              </a:lnSpc>
              <a:spcBef>
                <a:spcPts val="0"/>
              </a:spcBef>
              <a:buNone/>
              <a:defRPr sz="3200" i="1" baseline="0">
                <a:solidFill>
                  <a:schemeClr val="tx1"/>
                </a:solidFill>
                <a:latin typeface="+mj-lt"/>
              </a:defRPr>
            </a:lvl1pPr>
          </a:lstStyle>
          <a:p>
            <a:pPr lvl="0"/>
            <a:r>
              <a:rPr lang="en-US" dirty="0" smtClean="0"/>
              <a:t>Session Title</a:t>
            </a:r>
            <a:endParaRPr lang="ru-RU" dirty="0"/>
          </a:p>
        </p:txBody>
      </p:sp>
    </p:spTree>
    <p:extLst>
      <p:ext uri="{BB962C8B-B14F-4D97-AF65-F5344CB8AC3E}">
        <p14:creationId xmlns:p14="http://schemas.microsoft.com/office/powerpoint/2010/main" val="3243810244"/>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sp>
        <p:nvSpPr>
          <p:cNvPr id="3" name="Рисунок 2"/>
          <p:cNvSpPr>
            <a:spLocks noGrp="1"/>
          </p:cNvSpPr>
          <p:nvPr>
            <p:ph type="pic" sz="quarter" idx="10"/>
          </p:nvPr>
        </p:nvSpPr>
        <p:spPr>
          <a:xfrm>
            <a:off x="0" y="0"/>
            <a:ext cx="12192000" cy="6858000"/>
          </a:xfrm>
        </p:spPr>
        <p:txBody>
          <a:bodyPr/>
          <a:lstStyle/>
          <a:p>
            <a:endParaRPr lang="ru-RU"/>
          </a:p>
        </p:txBody>
      </p:sp>
      <p:sp>
        <p:nvSpPr>
          <p:cNvPr id="4" name="Заголовок 3"/>
          <p:cNvSpPr>
            <a:spLocks noGrp="1"/>
          </p:cNvSpPr>
          <p:nvPr>
            <p:ph type="title"/>
          </p:nvPr>
        </p:nvSpPr>
        <p:spPr>
          <a:xfrm>
            <a:off x="0" y="5589000"/>
            <a:ext cx="12192000" cy="720000"/>
          </a:xfrm>
        </p:spPr>
        <p:txBody>
          <a:bodyPr lIns="1044000"/>
          <a:lstStyle/>
          <a:p>
            <a:r>
              <a:rPr lang="ru-RU" smtClean="0"/>
              <a:t>Образец заголовка</a:t>
            </a:r>
            <a:endParaRPr lang="ru-RU"/>
          </a:p>
        </p:txBody>
      </p:sp>
    </p:spTree>
    <p:extLst>
      <p:ext uri="{BB962C8B-B14F-4D97-AF65-F5344CB8AC3E}">
        <p14:creationId xmlns:p14="http://schemas.microsoft.com/office/powerpoint/2010/main" val="1772977475"/>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Half Picture">
    <p:bg>
      <p:bgPr>
        <a:solidFill>
          <a:schemeClr val="accent4"/>
        </a:solidFill>
        <a:effectLst/>
      </p:bgPr>
    </p:bg>
    <p:spTree>
      <p:nvGrpSpPr>
        <p:cNvPr id="1" name=""/>
        <p:cNvGrpSpPr/>
        <p:nvPr/>
      </p:nvGrpSpPr>
      <p:grpSpPr>
        <a:xfrm>
          <a:off x="0" y="0"/>
          <a:ext cx="0" cy="0"/>
          <a:chOff x="0" y="0"/>
          <a:chExt cx="0" cy="0"/>
        </a:xfrm>
      </p:grpSpPr>
      <p:sp>
        <p:nvSpPr>
          <p:cNvPr id="3" name="Рисунок 2"/>
          <p:cNvSpPr>
            <a:spLocks noGrp="1"/>
          </p:cNvSpPr>
          <p:nvPr>
            <p:ph type="pic" sz="quarter" idx="10"/>
          </p:nvPr>
        </p:nvSpPr>
        <p:spPr>
          <a:xfrm>
            <a:off x="6096000" y="0"/>
            <a:ext cx="6096000" cy="6858000"/>
          </a:xfrm>
        </p:spPr>
        <p:txBody>
          <a:bodyPr/>
          <a:lstStyle/>
          <a:p>
            <a:endParaRPr lang="ru-RU"/>
          </a:p>
        </p:txBody>
      </p:sp>
      <p:sp>
        <p:nvSpPr>
          <p:cNvPr id="4" name="Заголовок 3"/>
          <p:cNvSpPr>
            <a:spLocks noGrp="1"/>
          </p:cNvSpPr>
          <p:nvPr>
            <p:ph type="title"/>
          </p:nvPr>
        </p:nvSpPr>
        <p:spPr>
          <a:xfrm>
            <a:off x="2296" y="1269000"/>
            <a:ext cx="6093704" cy="4320000"/>
          </a:xfrm>
        </p:spPr>
        <p:txBody>
          <a:bodyPr lIns="1044000" rIns="360000"/>
          <a:lstStyle>
            <a:lvl1pPr>
              <a:defRPr>
                <a:solidFill>
                  <a:schemeClr val="bg1"/>
                </a:solidFill>
                <a:latin typeface="+mj-lt"/>
              </a:defRPr>
            </a:lvl1pPr>
          </a:lstStyle>
          <a:p>
            <a:r>
              <a:rPr lang="ru-RU" smtClean="0"/>
              <a:t>Образец заголовка</a:t>
            </a:r>
            <a:endParaRPr lang="ru-RU"/>
          </a:p>
        </p:txBody>
      </p:sp>
    </p:spTree>
    <p:extLst>
      <p:ext uri="{BB962C8B-B14F-4D97-AF65-F5344CB8AC3E}">
        <p14:creationId xmlns:p14="http://schemas.microsoft.com/office/powerpoint/2010/main" val="147857739"/>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hird Picture">
    <p:bg>
      <p:bgPr>
        <a:solidFill>
          <a:schemeClr val="accent6"/>
        </a:solidFill>
        <a:effectLst/>
      </p:bgPr>
    </p:bg>
    <p:spTree>
      <p:nvGrpSpPr>
        <p:cNvPr id="1" name=""/>
        <p:cNvGrpSpPr/>
        <p:nvPr/>
      </p:nvGrpSpPr>
      <p:grpSpPr>
        <a:xfrm>
          <a:off x="0" y="0"/>
          <a:ext cx="0" cy="0"/>
          <a:chOff x="0" y="0"/>
          <a:chExt cx="0" cy="0"/>
        </a:xfrm>
      </p:grpSpPr>
      <p:sp>
        <p:nvSpPr>
          <p:cNvPr id="3" name="Рисунок 2"/>
          <p:cNvSpPr>
            <a:spLocks noGrp="1"/>
          </p:cNvSpPr>
          <p:nvPr>
            <p:ph type="pic" sz="quarter" idx="10"/>
          </p:nvPr>
        </p:nvSpPr>
        <p:spPr>
          <a:xfrm>
            <a:off x="8256000" y="0"/>
            <a:ext cx="3936000" cy="6858000"/>
          </a:xfrm>
        </p:spPr>
        <p:txBody>
          <a:bodyPr/>
          <a:lstStyle/>
          <a:p>
            <a:endParaRPr lang="ru-RU"/>
          </a:p>
        </p:txBody>
      </p:sp>
      <p:sp>
        <p:nvSpPr>
          <p:cNvPr id="4" name="Заголовок 3"/>
          <p:cNvSpPr>
            <a:spLocks noGrp="1"/>
          </p:cNvSpPr>
          <p:nvPr>
            <p:ph type="title"/>
          </p:nvPr>
        </p:nvSpPr>
        <p:spPr>
          <a:xfrm>
            <a:off x="2296" y="1269000"/>
            <a:ext cx="8253704" cy="4320000"/>
          </a:xfrm>
        </p:spPr>
        <p:txBody>
          <a:bodyPr lIns="1044000" rIns="360000"/>
          <a:lstStyle>
            <a:lvl1pPr>
              <a:defRPr>
                <a:solidFill>
                  <a:schemeClr val="bg1"/>
                </a:solidFill>
                <a:latin typeface="+mj-lt"/>
              </a:defRPr>
            </a:lvl1pPr>
          </a:lstStyle>
          <a:p>
            <a:r>
              <a:rPr lang="ru-RU" smtClean="0"/>
              <a:t>Образец заголовка</a:t>
            </a:r>
            <a:endParaRPr lang="ru-RU"/>
          </a:p>
        </p:txBody>
      </p:sp>
    </p:spTree>
    <p:extLst>
      <p:ext uri="{BB962C8B-B14F-4D97-AF65-F5344CB8AC3E}">
        <p14:creationId xmlns:p14="http://schemas.microsoft.com/office/powerpoint/2010/main" val="2873913572"/>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ontacts">
    <p:bg>
      <p:bgPr>
        <a:solidFill>
          <a:schemeClr val="tx2"/>
        </a:solidFill>
        <a:effectLst/>
      </p:bgPr>
    </p:bg>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solidFill>
                  <a:schemeClr val="bg1"/>
                </a:solidFill>
              </a:defRPr>
            </a:lvl1pPr>
          </a:lstStyle>
          <a:p>
            <a:r>
              <a:rPr lang="ru-RU" dirty="0" smtClean="0"/>
              <a:t>Образец заголовка</a:t>
            </a:r>
            <a:endParaRPr lang="ru-RU" dirty="0"/>
          </a:p>
        </p:txBody>
      </p:sp>
      <p:sp>
        <p:nvSpPr>
          <p:cNvPr id="3" name="Объект 2"/>
          <p:cNvSpPr>
            <a:spLocks noGrp="1"/>
          </p:cNvSpPr>
          <p:nvPr>
            <p:ph idx="1"/>
          </p:nvPr>
        </p:nvSpPr>
        <p:spPr>
          <a:xfrm>
            <a:off x="1056000" y="4149138"/>
            <a:ext cx="10297800" cy="2159862"/>
          </a:xfrm>
        </p:spPr>
        <p:txBody>
          <a:bodyPr/>
          <a:lstStyle>
            <a:lvl1pPr marL="0" indent="0">
              <a:buNone/>
              <a:defRPr lang="en-US" dirty="0" smtClean="0">
                <a:solidFill>
                  <a:schemeClr val="bg1"/>
                </a:solidFill>
              </a:defRPr>
            </a:lvl1pPr>
            <a:lvl2pPr marL="0" indent="0">
              <a:buNone/>
              <a:defRPr>
                <a:ln>
                  <a:noFill/>
                </a:ln>
                <a:solidFill>
                  <a:schemeClr val="bg1">
                    <a:lumMod val="85000"/>
                  </a:schemeClr>
                </a:solidFill>
              </a:defRPr>
            </a:lvl2pPr>
            <a:lvl3pPr marL="273050" indent="-185738">
              <a:buFont typeface="Wingdings" panose="05000000000000000000" pitchFamily="2" charset="2"/>
              <a:buChar char="§"/>
              <a:defRPr>
                <a:ln>
                  <a:noFill/>
                </a:ln>
                <a:solidFill>
                  <a:schemeClr val="bg1">
                    <a:lumMod val="85000"/>
                  </a:schemeClr>
                </a:solidFill>
              </a:defRPr>
            </a:lvl3pPr>
            <a:lvl4pPr marL="1371600" indent="0">
              <a:buNone/>
              <a:defRPr/>
            </a:lvl4pPr>
            <a:lvl5pPr marL="1828800" indent="0">
              <a:buNone/>
              <a:defRPr/>
            </a:lvl5pPr>
          </a:lstStyle>
          <a:p>
            <a:pPr lvl="0"/>
            <a:r>
              <a:rPr lang="ru-RU" dirty="0" smtClean="0"/>
              <a:t>Образец текста</a:t>
            </a:r>
            <a:endParaRPr lang="en-US" dirty="0" smtClean="0"/>
          </a:p>
          <a:p>
            <a:pPr lvl="1"/>
            <a:r>
              <a:rPr lang="ru-RU" dirty="0" smtClean="0"/>
              <a:t>Второй уровень</a:t>
            </a:r>
          </a:p>
          <a:p>
            <a:pPr lvl="2"/>
            <a:r>
              <a:rPr lang="ru-RU" dirty="0" smtClean="0"/>
              <a:t>Третий уровень</a:t>
            </a:r>
            <a:endParaRPr lang="ru-RU" dirty="0"/>
          </a:p>
        </p:txBody>
      </p:sp>
      <p:sp>
        <p:nvSpPr>
          <p:cNvPr id="5" name="Рисунок 4"/>
          <p:cNvSpPr>
            <a:spLocks noGrp="1"/>
          </p:cNvSpPr>
          <p:nvPr>
            <p:ph type="pic" sz="quarter" idx="10"/>
          </p:nvPr>
        </p:nvSpPr>
        <p:spPr>
          <a:xfrm>
            <a:off x="1116000" y="1449388"/>
            <a:ext cx="2460000" cy="2519362"/>
          </a:xfrm>
          <a:prstGeom prst="wedgeEllipseCallout">
            <a:avLst>
              <a:gd name="adj1" fmla="val -49528"/>
              <a:gd name="adj2" fmla="val 49797"/>
            </a:avLst>
          </a:prstGeom>
          <a:solidFill>
            <a:schemeClr val="accent3"/>
          </a:solidFill>
        </p:spPr>
        <p:txBody>
          <a:bodyPr/>
          <a:lstStyle/>
          <a:p>
            <a:endParaRPr lang="ru-RU"/>
          </a:p>
        </p:txBody>
      </p:sp>
    </p:spTree>
    <p:extLst>
      <p:ext uri="{BB962C8B-B14F-4D97-AF65-F5344CB8AC3E}">
        <p14:creationId xmlns:p14="http://schemas.microsoft.com/office/powerpoint/2010/main" val="364568924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obj" preserve="1">
  <p:cSld name="Thanks">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idx="1"/>
          </p:nvPr>
        </p:nvSpPr>
        <p:spPr/>
        <p:txBody>
          <a:bodyPr/>
          <a:lstStyle>
            <a:lvl1pPr marL="0" indent="0">
              <a:buNone/>
              <a:defRPr lang="en-US" dirty="0" smtClean="0"/>
            </a:lvl1pPr>
            <a:lvl2pPr marL="0" indent="0">
              <a:buNone/>
              <a:defRPr/>
            </a:lvl2pPr>
            <a:lvl3pPr marL="273050" indent="-185738">
              <a:buFont typeface="Wingdings" panose="05000000000000000000" pitchFamily="2" charset="2"/>
              <a:buChar char="§"/>
              <a:defRPr/>
            </a:lvl3pPr>
            <a:lvl4pPr marL="1371600" indent="0">
              <a:buNone/>
              <a:defRPr/>
            </a:lvl4pPr>
            <a:lvl5pPr marL="1828800" indent="0">
              <a:buNone/>
              <a:defRPr/>
            </a:lvl5pPr>
          </a:lstStyle>
          <a:p>
            <a:pPr lvl="0"/>
            <a:r>
              <a:rPr lang="ru-RU" dirty="0" smtClean="0"/>
              <a:t>Образец текста</a:t>
            </a:r>
            <a:endParaRPr lang="en-US" dirty="0" smtClean="0"/>
          </a:p>
          <a:p>
            <a:pPr lvl="1"/>
            <a:r>
              <a:rPr lang="ru-RU" dirty="0" smtClean="0"/>
              <a:t>Второй уровень</a:t>
            </a:r>
          </a:p>
          <a:p>
            <a:pPr lvl="2"/>
            <a:r>
              <a:rPr lang="ru-RU" dirty="0" smtClean="0"/>
              <a:t>Третий уровень</a:t>
            </a:r>
            <a:endParaRPr lang="ru-RU" dirty="0"/>
          </a:p>
        </p:txBody>
      </p:sp>
    </p:spTree>
    <p:extLst>
      <p:ext uri="{BB962C8B-B14F-4D97-AF65-F5344CB8AC3E}">
        <p14:creationId xmlns:p14="http://schemas.microsoft.com/office/powerpoint/2010/main" val="920880507"/>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Microsoft">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522288" y="6298299"/>
            <a:ext cx="11173090" cy="323165"/>
          </a:xfrm>
          <a:prstGeom prst="rect">
            <a:avLst/>
          </a:prstGeom>
          <a:noFill/>
          <a:ln w="12700">
            <a:noFill/>
            <a:miter lim="800000"/>
            <a:headEnd type="none" w="sm" len="sm"/>
            <a:tailEnd type="none" w="sm" len="sm"/>
          </a:ln>
          <a:effectLst/>
        </p:spPr>
        <p:txBody>
          <a:bodyPr lIns="0" tIns="0" rIns="0" bIns="0">
            <a:spAutoFit/>
          </a:bodyPr>
          <a:lstStyle/>
          <a:p>
            <a:pPr defTabSz="914099" eaLnBrk="0" hangingPunct="0">
              <a:defRPr/>
            </a:pPr>
            <a:r>
              <a:rPr lang="en-US" sz="700" dirty="0">
                <a:solidFill>
                  <a:srgbClr val="060F18"/>
                </a:solidFill>
                <a:cs typeface="Arial" charset="0"/>
              </a:rPr>
              <a:t>© 2013 Microsoft Corporation. All rights reserved. Microsoft, Windows, Windows Vista and other product names are or may be registered trademarks and/or trademarks in the U.S. and/or other countries.</a:t>
            </a:r>
          </a:p>
          <a:p>
            <a:pPr defTabSz="914099" eaLnBrk="0" hangingPunct="0">
              <a:defRPr/>
            </a:pPr>
            <a:r>
              <a:rPr lang="en-US" sz="700" dirty="0">
                <a:solidFill>
                  <a:srgbClr val="060F18"/>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Рисунок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29001" y="2743200"/>
            <a:ext cx="5102225" cy="1091876"/>
          </a:xfrm>
          <a:prstGeom prst="rect">
            <a:avLst/>
          </a:prstGeom>
        </p:spPr>
      </p:pic>
    </p:spTree>
    <p:extLst>
      <p:ext uri="{BB962C8B-B14F-4D97-AF65-F5344CB8AC3E}">
        <p14:creationId xmlns:p14="http://schemas.microsoft.com/office/powerpoint/2010/main" val="1437720420"/>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Заголовок и объект">
    <p:spTree>
      <p:nvGrpSpPr>
        <p:cNvPr id="1" name=""/>
        <p:cNvGrpSpPr/>
        <p:nvPr/>
      </p:nvGrpSpPr>
      <p:grpSpPr>
        <a:xfrm>
          <a:off x="0" y="0"/>
          <a:ext cx="0" cy="0"/>
          <a:chOff x="0" y="0"/>
          <a:chExt cx="0" cy="0"/>
        </a:xfrm>
      </p:grpSpPr>
      <p:sp>
        <p:nvSpPr>
          <p:cNvPr id="3" name="Содержимое 2"/>
          <p:cNvSpPr>
            <a:spLocks noGrp="1"/>
          </p:cNvSpPr>
          <p:nvPr>
            <p:ph idx="1"/>
          </p:nvPr>
        </p:nvSpPr>
        <p:spPr>
          <a:xfrm>
            <a:off x="761962" y="2571745"/>
            <a:ext cx="10820438" cy="2123620"/>
          </a:xfrm>
          <a:prstGeom prst="rect">
            <a:avLst/>
          </a:prstGeom>
        </p:spPr>
        <p:txBody>
          <a:bodyPr lIns="121883" tIns="60941" rIns="121883" bIns="60941"/>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4" name="Дата 3"/>
          <p:cNvSpPr>
            <a:spLocks noGrp="1"/>
          </p:cNvSpPr>
          <p:nvPr>
            <p:ph type="dt" sz="half" idx="10"/>
          </p:nvPr>
        </p:nvSpPr>
        <p:spPr>
          <a:xfrm>
            <a:off x="609600" y="6356353"/>
            <a:ext cx="2844800" cy="365125"/>
          </a:xfrm>
          <a:prstGeom prst="rect">
            <a:avLst/>
          </a:prstGeom>
        </p:spPr>
        <p:txBody>
          <a:bodyPr lIns="121883" tIns="60941" rIns="121883" bIns="60941"/>
          <a:lstStyle/>
          <a:p>
            <a:fld id="{00B0806A-3FF6-4D4F-A34C-75A45DBA47E5}" type="datetimeFigureOut">
              <a:rPr lang="ru-RU">
                <a:solidFill>
                  <a:prstClr val="black"/>
                </a:solidFill>
              </a:rPr>
              <a:pPr/>
              <a:t>22.04.2015</a:t>
            </a:fld>
            <a:endParaRPr lang="ru-RU" dirty="0">
              <a:solidFill>
                <a:prstClr val="black"/>
              </a:solidFill>
            </a:endParaRPr>
          </a:p>
        </p:txBody>
      </p:sp>
      <p:sp>
        <p:nvSpPr>
          <p:cNvPr id="5" name="Нижний колонтитул 4"/>
          <p:cNvSpPr>
            <a:spLocks noGrp="1"/>
          </p:cNvSpPr>
          <p:nvPr>
            <p:ph type="ftr" sz="quarter" idx="11"/>
          </p:nvPr>
        </p:nvSpPr>
        <p:spPr>
          <a:xfrm>
            <a:off x="4165601" y="6356353"/>
            <a:ext cx="3860800" cy="365125"/>
          </a:xfrm>
          <a:prstGeom prst="rect">
            <a:avLst/>
          </a:prstGeom>
        </p:spPr>
        <p:txBody>
          <a:bodyPr lIns="121883" tIns="60941" rIns="121883" bIns="60941"/>
          <a:lstStyle/>
          <a:p>
            <a:endParaRPr lang="ru-RU" dirty="0">
              <a:solidFill>
                <a:prstClr val="black"/>
              </a:solidFill>
            </a:endParaRPr>
          </a:p>
        </p:txBody>
      </p:sp>
      <p:sp>
        <p:nvSpPr>
          <p:cNvPr id="6" name="Номер слайда 5"/>
          <p:cNvSpPr>
            <a:spLocks noGrp="1"/>
          </p:cNvSpPr>
          <p:nvPr>
            <p:ph type="sldNum" sz="quarter" idx="12"/>
          </p:nvPr>
        </p:nvSpPr>
        <p:spPr>
          <a:xfrm>
            <a:off x="8737602" y="6356353"/>
            <a:ext cx="2844800" cy="365125"/>
          </a:xfrm>
          <a:prstGeom prst="rect">
            <a:avLst/>
          </a:prstGeom>
        </p:spPr>
        <p:txBody>
          <a:bodyPr lIns="121883" tIns="60941" rIns="121883" bIns="60941"/>
          <a:lstStyle/>
          <a:p>
            <a:fld id="{E5742F8B-14A1-4CD8-A0DC-ECD3BCB5B6F8}" type="slidenum">
              <a:rPr lang="ru-RU">
                <a:solidFill>
                  <a:prstClr val="black"/>
                </a:solidFill>
              </a:rPr>
              <a:pPr/>
              <a:t>‹#›</a:t>
            </a:fld>
            <a:endParaRPr lang="ru-RU" dirty="0">
              <a:solidFill>
                <a:prstClr val="black"/>
              </a:solidFill>
            </a:endParaRPr>
          </a:p>
        </p:txBody>
      </p:sp>
      <p:sp>
        <p:nvSpPr>
          <p:cNvPr id="7" name="Заголовок 1"/>
          <p:cNvSpPr>
            <a:spLocks noGrp="1"/>
          </p:cNvSpPr>
          <p:nvPr>
            <p:ph type="title"/>
          </p:nvPr>
        </p:nvSpPr>
        <p:spPr>
          <a:xfrm>
            <a:off x="761963" y="1214424"/>
            <a:ext cx="10782299" cy="870969"/>
          </a:xfrm>
          <a:prstGeom prst="rect">
            <a:avLst/>
          </a:prstGeom>
        </p:spPr>
        <p:txBody>
          <a:bodyPr lIns="121883" tIns="60941" rIns="121883" bIns="60941"/>
          <a:lstStyle>
            <a:lvl1pPr algn="l">
              <a:defRPr/>
            </a:lvl1pPr>
          </a:lstStyle>
          <a:p>
            <a:r>
              <a:rPr lang="ru-RU" dirty="0" smtClean="0"/>
              <a:t>Образец заголовка</a:t>
            </a:r>
            <a:endParaRPr lang="ru-RU" dirty="0"/>
          </a:p>
        </p:txBody>
      </p:sp>
    </p:spTree>
    <p:extLst>
      <p:ext uri="{BB962C8B-B14F-4D97-AF65-F5344CB8AC3E}">
        <p14:creationId xmlns:p14="http://schemas.microsoft.com/office/powerpoint/2010/main" val="1394340050"/>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529549317"/>
      </p:ext>
    </p:extLst>
  </p:cSld>
  <p:clrMapOvr>
    <a:masterClrMapping/>
  </p:clrMapOvr>
  <p:transition>
    <p:fade/>
  </p:transition>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pic>
        <p:nvPicPr>
          <p:cNvPr id="5" name="Picture 4"/>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300834504"/>
      </p:ext>
    </p:extLst>
  </p:cSld>
  <p:clrMapOvr>
    <a:masterClrMapping/>
  </p:clrMapOvr>
  <p:transition>
    <p:fade/>
  </p:transition>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3" descr="S:\InternalBin\Resource DVD\DVD_ART36\Logos\Azure Services Platform\Windows Azure\Windows Azure logo bl.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580967" y="6262689"/>
            <a:ext cx="3251200" cy="390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10117" y="1447802"/>
            <a:ext cx="11173883" cy="1523497"/>
          </a:xfrm>
        </p:spPr>
        <p:txBody>
          <a:bodyPr>
            <a:noAutofit/>
          </a:bodyPr>
          <a:lstStyle>
            <a:lvl1pPr>
              <a:lnSpc>
                <a:spcPct val="90000"/>
              </a:lnSpc>
              <a:defRPr sz="6000" spc="-200" baseline="0"/>
            </a:lvl1pPr>
          </a:lstStyle>
          <a:p>
            <a:r>
              <a:rPr lang="en-US" smtClean="0"/>
              <a:t>Click to edit Master title style</a:t>
            </a:r>
            <a:endParaRPr lang="en-US" dirty="0"/>
          </a:p>
        </p:txBody>
      </p:sp>
      <p:sp>
        <p:nvSpPr>
          <p:cNvPr id="3" name="Subtitle 2"/>
          <p:cNvSpPr>
            <a:spLocks noGrp="1"/>
          </p:cNvSpPr>
          <p:nvPr>
            <p:ph type="subTitle" idx="1"/>
          </p:nvPr>
        </p:nvSpPr>
        <p:spPr>
          <a:xfrm>
            <a:off x="510117" y="4343402"/>
            <a:ext cx="11173883" cy="463255"/>
          </a:xfrm>
        </p:spPr>
        <p:txBody>
          <a:bodyPr>
            <a:noAutofit/>
          </a:bodyPr>
          <a:lstStyle>
            <a:lvl1pPr marL="0" indent="0" algn="l">
              <a:lnSpc>
                <a:spcPct val="90000"/>
              </a:lnSpc>
              <a:spcBef>
                <a:spcPts val="0"/>
              </a:spcBef>
              <a:buNone/>
              <a:defRPr sz="2400" spc="-50" baseline="0">
                <a:gradFill>
                  <a:gsLst>
                    <a:gs pos="0">
                      <a:schemeClr val="tx1"/>
                    </a:gs>
                    <a:gs pos="86000">
                      <a:schemeClr val="tx1"/>
                    </a:gs>
                  </a:gsLst>
                  <a:lin ang="5400000" scaled="0"/>
                </a:gra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1073860309"/>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_Blank Color 1 Layout">
    <p:bg>
      <p:bgPr>
        <a:solidFill>
          <a:schemeClr val="tx1"/>
        </a:solidFill>
        <a:effectLst/>
      </p:bgPr>
    </p:bg>
    <p:spTree>
      <p:nvGrpSpPr>
        <p:cNvPr id="1" name=""/>
        <p:cNvGrpSpPr/>
        <p:nvPr/>
      </p:nvGrpSpPr>
      <p:grpSpPr>
        <a:xfrm>
          <a:off x="0" y="0"/>
          <a:ext cx="0" cy="0"/>
          <a:chOff x="0" y="0"/>
          <a:chExt cx="0" cy="0"/>
        </a:xfrm>
      </p:grpSpPr>
      <p:sp>
        <p:nvSpPr>
          <p:cNvPr id="11" name="Rectangle 2"/>
          <p:cNvSpPr>
            <a:spLocks noChangeArrowheads="1"/>
          </p:cNvSpPr>
          <p:nvPr userDrawn="1"/>
        </p:nvSpPr>
        <p:spPr bwMode="auto">
          <a:xfrm>
            <a:off x="530087" y="5734592"/>
            <a:ext cx="11078818" cy="900246"/>
          </a:xfrm>
          <a:prstGeom prst="rect">
            <a:avLst/>
          </a:prstGeom>
          <a:noFill/>
          <a:ln w="9525">
            <a:noFill/>
            <a:miter lim="800000"/>
            <a:headEnd/>
            <a:tailEnd/>
          </a:ln>
        </p:spPr>
        <p:txBody>
          <a:bodyPr wrap="square">
            <a:spAutoFit/>
          </a:bodyPr>
          <a:lstStyle/>
          <a:p>
            <a:pPr marL="0" lvl="1" defTabSz="914088">
              <a:defRPr/>
            </a:pPr>
            <a:r>
              <a:rPr lang="en-US" sz="1050" dirty="0">
                <a:solidFill>
                  <a:schemeClr val="bg1">
                    <a:lumMod val="75000"/>
                  </a:schemeClr>
                </a:solidFill>
              </a:rPr>
              <a:t>©</a:t>
            </a:r>
            <a:r>
              <a:rPr lang="en-US" sz="1050" dirty="0" smtClean="0">
                <a:solidFill>
                  <a:schemeClr val="bg1">
                    <a:lumMod val="75000"/>
                  </a:schemeClr>
                </a:solidFill>
              </a:rPr>
              <a:t>2015 </a:t>
            </a:r>
            <a:r>
              <a:rPr lang="en-US" sz="1050" dirty="0">
                <a:solidFill>
                  <a:schemeClr val="bg1">
                    <a:lumMod val="75000"/>
                  </a:schemeClr>
                </a:solidFill>
              </a:rPr>
              <a:t>Microsoft Corporation. All rights reserved. Microsoft, Windows, Office, Azure, System Center, Dynamic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19"/>
          <a:stretch/>
        </p:blipFill>
        <p:spPr>
          <a:xfrm>
            <a:off x="4394447" y="2553761"/>
            <a:ext cx="3766062" cy="1534054"/>
          </a:xfrm>
          <a:prstGeom prst="rect">
            <a:avLst/>
          </a:prstGeom>
        </p:spPr>
      </p:pic>
    </p:spTree>
    <p:extLst>
      <p:ext uri="{BB962C8B-B14F-4D97-AF65-F5344CB8AC3E}">
        <p14:creationId xmlns:p14="http://schemas.microsoft.com/office/powerpoint/2010/main" val="267925793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spTree>
      <p:nvGrpSpPr>
        <p:cNvPr id="1" name=""/>
        <p:cNvGrpSpPr/>
        <p:nvPr/>
      </p:nvGrpSpPr>
      <p:grpSpPr>
        <a:xfrm>
          <a:off x="0" y="0"/>
          <a:ext cx="0" cy="0"/>
          <a:chOff x="0" y="0"/>
          <a:chExt cx="0" cy="0"/>
        </a:xfrm>
      </p:grpSpPr>
      <p:pic>
        <p:nvPicPr>
          <p:cNvPr id="5" name="Picture 3" descr="S:\InternalBin\Resource DVD\DVD_ART36\Logos\Azure Services Platform\Windows Azure\Windows Azure logo bl.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580967" y="6262689"/>
            <a:ext cx="3251200" cy="390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10117" y="1905506"/>
            <a:ext cx="11173883" cy="1523494"/>
          </a:xfrm>
        </p:spPr>
        <p:txBody>
          <a:bodyPr anchorCtr="0">
            <a:noAutofit/>
          </a:bodyPr>
          <a:lstStyle>
            <a:lvl1pPr>
              <a:lnSpc>
                <a:spcPct val="90000"/>
              </a:lnSpc>
              <a:defRPr sz="6000" spc="-200" baseline="0"/>
            </a:lvl1pPr>
          </a:lstStyle>
          <a:p>
            <a:r>
              <a:rPr lang="en-US" smtClean="0"/>
              <a:t>Click to edit Master title style</a:t>
            </a:r>
            <a:endParaRPr lang="en-US" dirty="0"/>
          </a:p>
        </p:txBody>
      </p:sp>
      <p:sp>
        <p:nvSpPr>
          <p:cNvPr id="3" name="Subtitle 2"/>
          <p:cNvSpPr>
            <a:spLocks noGrp="1"/>
          </p:cNvSpPr>
          <p:nvPr>
            <p:ph type="subTitle" idx="1"/>
          </p:nvPr>
        </p:nvSpPr>
        <p:spPr>
          <a:xfrm>
            <a:off x="510117" y="4343402"/>
            <a:ext cx="11173883" cy="461665"/>
          </a:xfrm>
        </p:spPr>
        <p:txBody>
          <a:bodyPr>
            <a:noAutofit/>
          </a:bodyPr>
          <a:lstStyle>
            <a:lvl1pPr marL="0" indent="0" algn="l">
              <a:lnSpc>
                <a:spcPct val="90000"/>
              </a:lnSpc>
              <a:spcBef>
                <a:spcPts val="0"/>
              </a:spcBef>
              <a:buNone/>
              <a:defRPr sz="2400" spc="-50" baseline="0">
                <a:gradFill>
                  <a:gsLst>
                    <a:gs pos="0">
                      <a:schemeClr val="tx1"/>
                    </a:gs>
                    <a:gs pos="86000">
                      <a:schemeClr val="tx1"/>
                    </a:gs>
                  </a:gsLst>
                  <a:lin ang="5400000" scaled="0"/>
                </a:gra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p:nvPr>
        </p:nvSpPr>
        <p:spPr>
          <a:xfrm>
            <a:off x="510117" y="228600"/>
            <a:ext cx="11173883" cy="137864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7200" b="1" i="0" u="none" strike="noStrike" kern="1200" cap="none" spc="-600" normalizeH="0" baseline="0" noProof="0" dirty="0" smtClean="0">
                <a:ln w="11430"/>
                <a:gradFill>
                  <a:gsLst>
                    <a:gs pos="0">
                      <a:schemeClr val="tx1"/>
                    </a:gs>
                    <a:gs pos="88000">
                      <a:schemeClr val="tx1"/>
                    </a:gs>
                  </a:gsLst>
                  <a:lin ang="5400000"/>
                </a:gradFill>
                <a:effectLst/>
                <a:uLnTx/>
                <a:uFillTx/>
                <a:latin typeface="Segoe UI" pitchFamily="34" charset="0"/>
                <a:ea typeface="+mn-ea"/>
                <a:cs typeface="+mn-cs"/>
              </a:defRPr>
            </a:lvl1pPr>
          </a:lstStyle>
          <a:p>
            <a:pPr lvl="0"/>
            <a:r>
              <a:rPr lang="en-US" smtClean="0"/>
              <a:t>Click to edit Master text styles</a:t>
            </a:r>
          </a:p>
        </p:txBody>
      </p:sp>
    </p:spTree>
    <p:extLst>
      <p:ext uri="{BB962C8B-B14F-4D97-AF65-F5344CB8AC3E}">
        <p14:creationId xmlns:p14="http://schemas.microsoft.com/office/powerpoint/2010/main" val="1385340352"/>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4" name="TextBox 3"/>
          <p:cNvSpPr txBox="1"/>
          <p:nvPr/>
        </p:nvSpPr>
        <p:spPr>
          <a:xfrm>
            <a:off x="11671166" y="6508286"/>
            <a:ext cx="365855" cy="138499"/>
          </a:xfrm>
          <a:prstGeom prst="rect">
            <a:avLst/>
          </a:prstGeom>
          <a:noFill/>
        </p:spPr>
        <p:txBody>
          <a:bodyPr lIns="0" tIns="0" rIns="0" bIns="0">
            <a:spAutoFit/>
          </a:bodyPr>
          <a:lstStyle/>
          <a:p>
            <a:pPr defTabSz="914363">
              <a:tabLst>
                <a:tab pos="230188" algn="l"/>
              </a:tabLst>
              <a:defRPr/>
            </a:pPr>
            <a:fld id="{9B86C036-9793-4BB2-B099-29543908D65B}" type="slidenum">
              <a:rPr lang="en-US" sz="900">
                <a:gradFill>
                  <a:gsLst>
                    <a:gs pos="0">
                      <a:srgbClr val="3B3B3B"/>
                    </a:gs>
                    <a:gs pos="86000">
                      <a:srgbClr val="3B3B3B"/>
                    </a:gs>
                  </a:gsLst>
                  <a:lin ang="5400000" scaled="0"/>
                </a:gradFill>
                <a:cs typeface="Arial" charset="0"/>
              </a:rPr>
              <a:pPr defTabSz="914363">
                <a:tabLst>
                  <a:tab pos="230188" algn="l"/>
                </a:tabLst>
                <a:defRPr/>
              </a:pPr>
              <a:t>‹#›</a:t>
            </a:fld>
            <a:endParaRPr lang="en-US" sz="900" dirty="0">
              <a:gradFill>
                <a:gsLst>
                  <a:gs pos="0">
                    <a:srgbClr val="3B3B3B"/>
                  </a:gs>
                  <a:gs pos="86000">
                    <a:srgbClr val="3B3B3B"/>
                  </a:gs>
                </a:gsLst>
                <a:lin ang="5400000" scaled="0"/>
              </a:gradFill>
              <a:cs typeface="Arial" charset="0"/>
            </a:endParaRPr>
          </a:p>
        </p:txBody>
      </p:sp>
      <p:sp>
        <p:nvSpPr>
          <p:cNvPr id="6" name="TextBox 5"/>
          <p:cNvSpPr txBox="1"/>
          <p:nvPr/>
        </p:nvSpPr>
        <p:spPr>
          <a:xfrm>
            <a:off x="8523815" y="6508286"/>
            <a:ext cx="2705484" cy="138499"/>
          </a:xfrm>
          <a:prstGeom prst="rect">
            <a:avLst/>
          </a:prstGeom>
          <a:noFill/>
        </p:spPr>
        <p:txBody>
          <a:bodyPr lIns="0" tIns="0" rIns="0" bIns="0">
            <a:spAutoFit/>
          </a:bodyPr>
          <a:lstStyle/>
          <a:p>
            <a:pPr algn="r" defTabSz="914363">
              <a:defRPr/>
            </a:pPr>
            <a:r>
              <a:rPr lang="en-US" sz="900" dirty="0">
                <a:gradFill>
                  <a:gsLst>
                    <a:gs pos="0">
                      <a:srgbClr val="3B3B3B"/>
                    </a:gs>
                    <a:gs pos="86000">
                      <a:srgbClr val="3B3B3B"/>
                    </a:gs>
                  </a:gsLst>
                  <a:lin ang="5400000" scaled="0"/>
                </a:gradFill>
                <a:cs typeface="Arial" charset="0"/>
              </a:rPr>
              <a:t>© 2009 Microsoft Confidential</a:t>
            </a:r>
          </a:p>
        </p:txBody>
      </p:sp>
      <p:cxnSp>
        <p:nvCxnSpPr>
          <p:cNvPr id="7" name="Straight Connector 6"/>
          <p:cNvCxnSpPr/>
          <p:nvPr/>
        </p:nvCxnSpPr>
        <p:spPr>
          <a:xfrm rot="5400000">
            <a:off x="11345333" y="6577013"/>
            <a:ext cx="2286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510117" y="228602"/>
            <a:ext cx="11173883" cy="66638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0117" y="1447800"/>
            <a:ext cx="11173883" cy="200054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88447055"/>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4" name="TextBox 3"/>
          <p:cNvSpPr txBox="1"/>
          <p:nvPr/>
        </p:nvSpPr>
        <p:spPr>
          <a:xfrm>
            <a:off x="11671166" y="6508286"/>
            <a:ext cx="365855" cy="138499"/>
          </a:xfrm>
          <a:prstGeom prst="rect">
            <a:avLst/>
          </a:prstGeom>
          <a:noFill/>
        </p:spPr>
        <p:txBody>
          <a:bodyPr lIns="0" tIns="0" rIns="0" bIns="0">
            <a:spAutoFit/>
          </a:bodyPr>
          <a:lstStyle/>
          <a:p>
            <a:pPr defTabSz="914363">
              <a:tabLst>
                <a:tab pos="230188" algn="l"/>
              </a:tabLst>
              <a:defRPr/>
            </a:pPr>
            <a:fld id="{1360171D-4981-4B33-8ADF-7E5B93FF3ED9}" type="slidenum">
              <a:rPr lang="en-US" sz="900">
                <a:gradFill>
                  <a:gsLst>
                    <a:gs pos="0">
                      <a:srgbClr val="3B3B3B"/>
                    </a:gs>
                    <a:gs pos="86000">
                      <a:srgbClr val="3B3B3B"/>
                    </a:gs>
                  </a:gsLst>
                  <a:lin ang="5400000" scaled="0"/>
                </a:gradFill>
                <a:cs typeface="Arial" charset="0"/>
              </a:rPr>
              <a:pPr defTabSz="914363">
                <a:tabLst>
                  <a:tab pos="230188" algn="l"/>
                </a:tabLst>
                <a:defRPr/>
              </a:pPr>
              <a:t>‹#›</a:t>
            </a:fld>
            <a:endParaRPr lang="en-US" sz="900" dirty="0">
              <a:gradFill>
                <a:gsLst>
                  <a:gs pos="0">
                    <a:srgbClr val="3B3B3B"/>
                  </a:gs>
                  <a:gs pos="86000">
                    <a:srgbClr val="3B3B3B"/>
                  </a:gs>
                </a:gsLst>
                <a:lin ang="5400000" scaled="0"/>
              </a:gradFill>
              <a:cs typeface="Arial" charset="0"/>
            </a:endParaRPr>
          </a:p>
        </p:txBody>
      </p:sp>
      <p:sp>
        <p:nvSpPr>
          <p:cNvPr id="5" name="TextBox 4"/>
          <p:cNvSpPr txBox="1"/>
          <p:nvPr/>
        </p:nvSpPr>
        <p:spPr>
          <a:xfrm>
            <a:off x="8523815" y="6508286"/>
            <a:ext cx="2705484" cy="138499"/>
          </a:xfrm>
          <a:prstGeom prst="rect">
            <a:avLst/>
          </a:prstGeom>
          <a:noFill/>
        </p:spPr>
        <p:txBody>
          <a:bodyPr lIns="0" tIns="0" rIns="0" bIns="0">
            <a:spAutoFit/>
          </a:bodyPr>
          <a:lstStyle/>
          <a:p>
            <a:pPr algn="r" defTabSz="914363">
              <a:defRPr/>
            </a:pPr>
            <a:r>
              <a:rPr lang="en-US" sz="900" dirty="0">
                <a:gradFill>
                  <a:gsLst>
                    <a:gs pos="0">
                      <a:srgbClr val="3B3B3B"/>
                    </a:gs>
                    <a:gs pos="86000">
                      <a:srgbClr val="3B3B3B"/>
                    </a:gs>
                  </a:gsLst>
                  <a:lin ang="5400000" scaled="0"/>
                </a:gradFill>
                <a:cs typeface="Arial" charset="0"/>
              </a:rPr>
              <a:t>© 2009 Microsoft Confidential</a:t>
            </a:r>
          </a:p>
        </p:txBody>
      </p:sp>
      <p:cxnSp>
        <p:nvCxnSpPr>
          <p:cNvPr id="6" name="Straight Connector 5"/>
          <p:cNvCxnSpPr/>
          <p:nvPr/>
        </p:nvCxnSpPr>
        <p:spPr>
          <a:xfrm rot="5400000">
            <a:off x="11345333" y="6577013"/>
            <a:ext cx="2286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510117" y="228602"/>
            <a:ext cx="11173883" cy="666387"/>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510117" y="1447800"/>
            <a:ext cx="11173883"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94607886"/>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sp>
        <p:nvSpPr>
          <p:cNvPr id="5" name="TextBox 4"/>
          <p:cNvSpPr txBox="1"/>
          <p:nvPr/>
        </p:nvSpPr>
        <p:spPr>
          <a:xfrm>
            <a:off x="11671166" y="6508286"/>
            <a:ext cx="365855" cy="138499"/>
          </a:xfrm>
          <a:prstGeom prst="rect">
            <a:avLst/>
          </a:prstGeom>
          <a:noFill/>
        </p:spPr>
        <p:txBody>
          <a:bodyPr lIns="0" tIns="0" rIns="0" bIns="0">
            <a:spAutoFit/>
          </a:bodyPr>
          <a:lstStyle/>
          <a:p>
            <a:pPr defTabSz="914363">
              <a:tabLst>
                <a:tab pos="230188" algn="l"/>
              </a:tabLst>
              <a:defRPr/>
            </a:pPr>
            <a:fld id="{015F0AB3-3DDA-4351-A95E-6C169CBCFE7C}" type="slidenum">
              <a:rPr lang="en-US" sz="900">
                <a:gradFill>
                  <a:gsLst>
                    <a:gs pos="0">
                      <a:srgbClr val="3B3B3B"/>
                    </a:gs>
                    <a:gs pos="86000">
                      <a:srgbClr val="3B3B3B"/>
                    </a:gs>
                  </a:gsLst>
                  <a:lin ang="5400000" scaled="0"/>
                </a:gradFill>
                <a:cs typeface="Arial" charset="0"/>
              </a:rPr>
              <a:pPr defTabSz="914363">
                <a:tabLst>
                  <a:tab pos="230188" algn="l"/>
                </a:tabLst>
                <a:defRPr/>
              </a:pPr>
              <a:t>‹#›</a:t>
            </a:fld>
            <a:endParaRPr lang="en-US" sz="900" dirty="0">
              <a:gradFill>
                <a:gsLst>
                  <a:gs pos="0">
                    <a:srgbClr val="3B3B3B"/>
                  </a:gs>
                  <a:gs pos="86000">
                    <a:srgbClr val="3B3B3B"/>
                  </a:gs>
                </a:gsLst>
                <a:lin ang="5400000" scaled="0"/>
              </a:gradFill>
              <a:cs typeface="Arial" charset="0"/>
            </a:endParaRPr>
          </a:p>
        </p:txBody>
      </p:sp>
      <p:sp>
        <p:nvSpPr>
          <p:cNvPr id="6" name="TextBox 5"/>
          <p:cNvSpPr txBox="1"/>
          <p:nvPr/>
        </p:nvSpPr>
        <p:spPr>
          <a:xfrm>
            <a:off x="8523815" y="6508286"/>
            <a:ext cx="2705484" cy="138499"/>
          </a:xfrm>
          <a:prstGeom prst="rect">
            <a:avLst/>
          </a:prstGeom>
          <a:noFill/>
        </p:spPr>
        <p:txBody>
          <a:bodyPr lIns="0" tIns="0" rIns="0" bIns="0">
            <a:spAutoFit/>
          </a:bodyPr>
          <a:lstStyle/>
          <a:p>
            <a:pPr algn="r" defTabSz="914363">
              <a:defRPr/>
            </a:pPr>
            <a:r>
              <a:rPr lang="en-US" sz="900" dirty="0">
                <a:gradFill>
                  <a:gsLst>
                    <a:gs pos="0">
                      <a:srgbClr val="3B3B3B"/>
                    </a:gs>
                    <a:gs pos="86000">
                      <a:srgbClr val="3B3B3B"/>
                    </a:gs>
                  </a:gsLst>
                  <a:lin ang="5400000" scaled="0"/>
                </a:gradFill>
                <a:cs typeface="Arial" charset="0"/>
              </a:rPr>
              <a:t>© 2009 Microsoft Confidential</a:t>
            </a:r>
          </a:p>
        </p:txBody>
      </p:sp>
      <p:cxnSp>
        <p:nvCxnSpPr>
          <p:cNvPr id="7" name="Straight Connector 6"/>
          <p:cNvCxnSpPr/>
          <p:nvPr/>
        </p:nvCxnSpPr>
        <p:spPr>
          <a:xfrm rot="5400000">
            <a:off x="11345333" y="6577013"/>
            <a:ext cx="2286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510117" y="228602"/>
            <a:ext cx="11173883" cy="666387"/>
          </a:xfrm>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510117" y="1447800"/>
            <a:ext cx="5496960" cy="1742015"/>
          </a:xfrm>
        </p:spPr>
        <p:txBody>
          <a:bodyPr/>
          <a:lstStyle>
            <a:lvl1pPr marL="339976" indent="-339976">
              <a:lnSpc>
                <a:spcPct val="90000"/>
              </a:lnSpc>
              <a:defRPr sz="2800"/>
            </a:lvl1pPr>
            <a:lvl2pPr marL="673338" indent="-325424">
              <a:lnSpc>
                <a:spcPct val="90000"/>
              </a:lnSpc>
              <a:defRPr sz="2400"/>
            </a:lvl2pPr>
            <a:lvl3pPr marL="953785" indent="-288384">
              <a:lnSpc>
                <a:spcPct val="90000"/>
              </a:lnSpc>
              <a:defRPr sz="2000"/>
            </a:lvl3pPr>
            <a:lvl4pPr marL="1227618" indent="-273833">
              <a:lnSpc>
                <a:spcPct val="90000"/>
              </a:lnSpc>
              <a:defRPr sz="1800"/>
            </a:lvl4pPr>
            <a:lvl5pPr marL="1516002" indent="-280447">
              <a:lnSpc>
                <a:spcPct val="90000"/>
              </a:lnSpc>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96171" y="1447800"/>
            <a:ext cx="5487829" cy="1742015"/>
          </a:xfrm>
        </p:spPr>
        <p:txBody>
          <a:bodyPr/>
          <a:lstStyle>
            <a:lvl1pPr marL="347914" indent="-347914">
              <a:lnSpc>
                <a:spcPct val="90000"/>
              </a:lnSpc>
              <a:defRPr sz="2800"/>
            </a:lvl1pPr>
            <a:lvl2pPr marL="673338" indent="-339976">
              <a:lnSpc>
                <a:spcPct val="90000"/>
              </a:lnSpc>
              <a:defRPr sz="2400"/>
            </a:lvl2pPr>
            <a:lvl3pPr marL="961722" indent="-302936">
              <a:lnSpc>
                <a:spcPct val="90000"/>
              </a:lnSpc>
              <a:defRPr sz="2000"/>
            </a:lvl3pPr>
            <a:lvl4pPr marL="1227618" indent="-265896">
              <a:lnSpc>
                <a:spcPct val="90000"/>
              </a:lnSpc>
              <a:defRPr sz="1800"/>
            </a:lvl4pPr>
            <a:lvl5pPr marL="1516002" indent="-273833">
              <a:lnSpc>
                <a:spcPct val="90000"/>
              </a:lnSpc>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79564512"/>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Comparison">
    <p:spTree>
      <p:nvGrpSpPr>
        <p:cNvPr id="1" name=""/>
        <p:cNvGrpSpPr/>
        <p:nvPr/>
      </p:nvGrpSpPr>
      <p:grpSpPr>
        <a:xfrm>
          <a:off x="0" y="0"/>
          <a:ext cx="0" cy="0"/>
          <a:chOff x="0" y="0"/>
          <a:chExt cx="0" cy="0"/>
        </a:xfrm>
      </p:grpSpPr>
      <p:sp>
        <p:nvSpPr>
          <p:cNvPr id="7" name="TextBox 6"/>
          <p:cNvSpPr txBox="1"/>
          <p:nvPr/>
        </p:nvSpPr>
        <p:spPr>
          <a:xfrm>
            <a:off x="11671166" y="6508286"/>
            <a:ext cx="365855" cy="138499"/>
          </a:xfrm>
          <a:prstGeom prst="rect">
            <a:avLst/>
          </a:prstGeom>
          <a:noFill/>
        </p:spPr>
        <p:txBody>
          <a:bodyPr lIns="0" tIns="0" rIns="0" bIns="0">
            <a:spAutoFit/>
          </a:bodyPr>
          <a:lstStyle/>
          <a:p>
            <a:pPr defTabSz="914363">
              <a:tabLst>
                <a:tab pos="230188" algn="l"/>
              </a:tabLst>
              <a:defRPr/>
            </a:pPr>
            <a:fld id="{6B953E0D-4E4F-4E29-AF90-990E61431A17}" type="slidenum">
              <a:rPr lang="en-US" sz="900">
                <a:gradFill>
                  <a:gsLst>
                    <a:gs pos="0">
                      <a:srgbClr val="3B3B3B"/>
                    </a:gs>
                    <a:gs pos="86000">
                      <a:srgbClr val="3B3B3B"/>
                    </a:gs>
                  </a:gsLst>
                  <a:lin ang="5400000" scaled="0"/>
                </a:gradFill>
                <a:cs typeface="Arial" charset="0"/>
              </a:rPr>
              <a:pPr defTabSz="914363">
                <a:tabLst>
                  <a:tab pos="230188" algn="l"/>
                </a:tabLst>
                <a:defRPr/>
              </a:pPr>
              <a:t>‹#›</a:t>
            </a:fld>
            <a:endParaRPr lang="en-US" sz="900" dirty="0">
              <a:gradFill>
                <a:gsLst>
                  <a:gs pos="0">
                    <a:srgbClr val="3B3B3B"/>
                  </a:gs>
                  <a:gs pos="86000">
                    <a:srgbClr val="3B3B3B"/>
                  </a:gs>
                </a:gsLst>
                <a:lin ang="5400000" scaled="0"/>
              </a:gradFill>
              <a:cs typeface="Arial" charset="0"/>
            </a:endParaRPr>
          </a:p>
        </p:txBody>
      </p:sp>
      <p:sp>
        <p:nvSpPr>
          <p:cNvPr id="8" name="TextBox 7"/>
          <p:cNvSpPr txBox="1"/>
          <p:nvPr/>
        </p:nvSpPr>
        <p:spPr>
          <a:xfrm>
            <a:off x="8523815" y="6508286"/>
            <a:ext cx="2705484" cy="138499"/>
          </a:xfrm>
          <a:prstGeom prst="rect">
            <a:avLst/>
          </a:prstGeom>
          <a:noFill/>
        </p:spPr>
        <p:txBody>
          <a:bodyPr lIns="0" tIns="0" rIns="0" bIns="0">
            <a:spAutoFit/>
          </a:bodyPr>
          <a:lstStyle/>
          <a:p>
            <a:pPr algn="r" defTabSz="914363">
              <a:defRPr/>
            </a:pPr>
            <a:r>
              <a:rPr lang="en-US" sz="900" dirty="0">
                <a:gradFill>
                  <a:gsLst>
                    <a:gs pos="0">
                      <a:srgbClr val="3B3B3B"/>
                    </a:gs>
                    <a:gs pos="86000">
                      <a:srgbClr val="3B3B3B"/>
                    </a:gs>
                  </a:gsLst>
                  <a:lin ang="5400000" scaled="0"/>
                </a:gradFill>
                <a:cs typeface="Arial" charset="0"/>
              </a:rPr>
              <a:t>© 2009 Microsoft Confidential</a:t>
            </a:r>
          </a:p>
        </p:txBody>
      </p:sp>
      <p:cxnSp>
        <p:nvCxnSpPr>
          <p:cNvPr id="9" name="Straight Connector 8"/>
          <p:cNvCxnSpPr/>
          <p:nvPr/>
        </p:nvCxnSpPr>
        <p:spPr>
          <a:xfrm rot="5400000">
            <a:off x="11345333" y="6577013"/>
            <a:ext cx="2286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510117" y="228602"/>
            <a:ext cx="11173883" cy="666387"/>
          </a:xfrm>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508000" y="1794050"/>
            <a:ext cx="5496960" cy="346249"/>
          </a:xfrm>
        </p:spPr>
        <p:txBody>
          <a:bodyPr anchor="b"/>
          <a:lstStyle>
            <a:lvl1pPr marL="0" indent="0">
              <a:lnSpc>
                <a:spcPct val="90000"/>
              </a:lnSpc>
              <a:spcBef>
                <a:spcPts val="0"/>
              </a:spcBef>
              <a:buNone/>
              <a:defRPr sz="2500" b="1"/>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72657"/>
            <a:ext cx="5486400" cy="1537344"/>
          </a:xfrm>
        </p:spPr>
        <p:txBody>
          <a:bodyPr/>
          <a:lstStyle>
            <a:lvl1pPr marL="281770" indent="-281770">
              <a:defRPr sz="2300"/>
            </a:lvl1pPr>
            <a:lvl2pPr marL="562218" indent="-265896">
              <a:defRPr sz="2000"/>
            </a:lvl2pPr>
            <a:lvl3pPr marL="813562" indent="-243407">
              <a:defRPr sz="1800"/>
            </a:lvl3pPr>
            <a:lvl4pPr marL="1050354" indent="-228856">
              <a:defRPr sz="1700"/>
            </a:lvl4pPr>
            <a:lvl5pPr marL="1279210" indent="-206367">
              <a:defRPr sz="17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96171" y="1794050"/>
            <a:ext cx="5487829" cy="346249"/>
          </a:xfrm>
        </p:spPr>
        <p:txBody>
          <a:bodyPr anchor="b"/>
          <a:lstStyle>
            <a:lvl1pPr marL="0" indent="0">
              <a:lnSpc>
                <a:spcPct val="90000"/>
              </a:lnSpc>
              <a:spcBef>
                <a:spcPts val="0"/>
              </a:spcBef>
              <a:buNone/>
              <a:defRPr sz="2500" b="1"/>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96171" y="2272657"/>
            <a:ext cx="5487829" cy="1537344"/>
          </a:xfrm>
        </p:spPr>
        <p:txBody>
          <a:bodyPr/>
          <a:lstStyle>
            <a:lvl1pPr marL="296321" indent="-296321">
              <a:defRPr sz="2300"/>
            </a:lvl1pPr>
            <a:lvl2pPr marL="570155" indent="-273833">
              <a:defRPr sz="2000"/>
            </a:lvl2pPr>
            <a:lvl3pPr marL="821499" indent="-244730">
              <a:defRPr sz="1800"/>
            </a:lvl3pPr>
            <a:lvl4pPr marL="1050354" indent="-236793">
              <a:defRPr sz="1700"/>
            </a:lvl4pPr>
            <a:lvl5pPr marL="1279210" indent="-220919">
              <a:defRPr sz="17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00152359"/>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3" name="TextBox 2"/>
          <p:cNvSpPr txBox="1"/>
          <p:nvPr/>
        </p:nvSpPr>
        <p:spPr>
          <a:xfrm>
            <a:off x="11671166" y="6508286"/>
            <a:ext cx="365855" cy="138499"/>
          </a:xfrm>
          <a:prstGeom prst="rect">
            <a:avLst/>
          </a:prstGeom>
          <a:noFill/>
        </p:spPr>
        <p:txBody>
          <a:bodyPr lIns="0" tIns="0" rIns="0" bIns="0">
            <a:spAutoFit/>
          </a:bodyPr>
          <a:lstStyle/>
          <a:p>
            <a:pPr defTabSz="914363">
              <a:tabLst>
                <a:tab pos="230188" algn="l"/>
              </a:tabLst>
              <a:defRPr/>
            </a:pPr>
            <a:fld id="{6CE10CC0-9E10-4CBA-BE56-3FEACB2FD89F}" type="slidenum">
              <a:rPr lang="en-US" sz="900">
                <a:gradFill>
                  <a:gsLst>
                    <a:gs pos="0">
                      <a:srgbClr val="3B3B3B"/>
                    </a:gs>
                    <a:gs pos="86000">
                      <a:srgbClr val="3B3B3B"/>
                    </a:gs>
                  </a:gsLst>
                  <a:lin ang="5400000" scaled="0"/>
                </a:gradFill>
                <a:cs typeface="Arial" charset="0"/>
              </a:rPr>
              <a:pPr defTabSz="914363">
                <a:tabLst>
                  <a:tab pos="230188" algn="l"/>
                </a:tabLst>
                <a:defRPr/>
              </a:pPr>
              <a:t>‹#›</a:t>
            </a:fld>
            <a:endParaRPr lang="en-US" sz="900" dirty="0">
              <a:gradFill>
                <a:gsLst>
                  <a:gs pos="0">
                    <a:srgbClr val="3B3B3B"/>
                  </a:gs>
                  <a:gs pos="86000">
                    <a:srgbClr val="3B3B3B"/>
                  </a:gs>
                </a:gsLst>
                <a:lin ang="5400000" scaled="0"/>
              </a:gradFill>
              <a:cs typeface="Arial" charset="0"/>
            </a:endParaRPr>
          </a:p>
        </p:txBody>
      </p:sp>
      <p:sp>
        <p:nvSpPr>
          <p:cNvPr id="4" name="TextBox 3"/>
          <p:cNvSpPr txBox="1"/>
          <p:nvPr/>
        </p:nvSpPr>
        <p:spPr>
          <a:xfrm>
            <a:off x="8523815" y="6508286"/>
            <a:ext cx="2705484" cy="138499"/>
          </a:xfrm>
          <a:prstGeom prst="rect">
            <a:avLst/>
          </a:prstGeom>
          <a:noFill/>
        </p:spPr>
        <p:txBody>
          <a:bodyPr lIns="0" tIns="0" rIns="0" bIns="0">
            <a:spAutoFit/>
          </a:bodyPr>
          <a:lstStyle/>
          <a:p>
            <a:pPr algn="r" defTabSz="914363">
              <a:defRPr/>
            </a:pPr>
            <a:r>
              <a:rPr lang="en-US" sz="900" dirty="0">
                <a:gradFill>
                  <a:gsLst>
                    <a:gs pos="0">
                      <a:srgbClr val="3B3B3B"/>
                    </a:gs>
                    <a:gs pos="86000">
                      <a:srgbClr val="3B3B3B"/>
                    </a:gs>
                  </a:gsLst>
                  <a:lin ang="5400000" scaled="0"/>
                </a:gradFill>
                <a:cs typeface="Arial" charset="0"/>
              </a:rPr>
              <a:t>© 2009 Microsoft Confidential</a:t>
            </a:r>
          </a:p>
        </p:txBody>
      </p:sp>
      <p:cxnSp>
        <p:nvCxnSpPr>
          <p:cNvPr id="5" name="Straight Connector 4"/>
          <p:cNvCxnSpPr/>
          <p:nvPr/>
        </p:nvCxnSpPr>
        <p:spPr>
          <a:xfrm rot="5400000">
            <a:off x="11345333" y="6577013"/>
            <a:ext cx="2286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510117" y="228602"/>
            <a:ext cx="11173883" cy="666387"/>
          </a:xfrm>
        </p:spPr>
        <p:txBody>
          <a:bodyPr/>
          <a:lstStyle/>
          <a:p>
            <a:r>
              <a:rPr lang="en-US" smtClean="0"/>
              <a:t>Click to edit Master title style</a:t>
            </a:r>
            <a:endParaRPr lang="en-US" dirty="0"/>
          </a:p>
        </p:txBody>
      </p:sp>
    </p:spTree>
    <p:extLst>
      <p:ext uri="{BB962C8B-B14F-4D97-AF65-F5344CB8AC3E}">
        <p14:creationId xmlns:p14="http://schemas.microsoft.com/office/powerpoint/2010/main" val="3706220702"/>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TextBox 1"/>
          <p:cNvSpPr txBox="1"/>
          <p:nvPr/>
        </p:nvSpPr>
        <p:spPr>
          <a:xfrm>
            <a:off x="11671166" y="6508286"/>
            <a:ext cx="365855" cy="138499"/>
          </a:xfrm>
          <a:prstGeom prst="rect">
            <a:avLst/>
          </a:prstGeom>
          <a:noFill/>
        </p:spPr>
        <p:txBody>
          <a:bodyPr lIns="0" tIns="0" rIns="0" bIns="0">
            <a:spAutoFit/>
          </a:bodyPr>
          <a:lstStyle/>
          <a:p>
            <a:pPr defTabSz="914363">
              <a:tabLst>
                <a:tab pos="230188" algn="l"/>
              </a:tabLst>
              <a:defRPr/>
            </a:pPr>
            <a:fld id="{2BAE804D-7B56-4D46-BD96-A30C5B587846}" type="slidenum">
              <a:rPr lang="en-US" sz="900">
                <a:gradFill>
                  <a:gsLst>
                    <a:gs pos="0">
                      <a:srgbClr val="3B3B3B"/>
                    </a:gs>
                    <a:gs pos="86000">
                      <a:srgbClr val="3B3B3B"/>
                    </a:gs>
                  </a:gsLst>
                  <a:lin ang="5400000" scaled="0"/>
                </a:gradFill>
                <a:cs typeface="Arial" charset="0"/>
              </a:rPr>
              <a:pPr defTabSz="914363">
                <a:tabLst>
                  <a:tab pos="230188" algn="l"/>
                </a:tabLst>
                <a:defRPr/>
              </a:pPr>
              <a:t>‹#›</a:t>
            </a:fld>
            <a:endParaRPr lang="en-US" sz="900" dirty="0">
              <a:gradFill>
                <a:gsLst>
                  <a:gs pos="0">
                    <a:srgbClr val="3B3B3B"/>
                  </a:gs>
                  <a:gs pos="86000">
                    <a:srgbClr val="3B3B3B"/>
                  </a:gs>
                </a:gsLst>
                <a:lin ang="5400000" scaled="0"/>
              </a:gradFill>
              <a:cs typeface="Arial" charset="0"/>
            </a:endParaRPr>
          </a:p>
        </p:txBody>
      </p:sp>
      <p:sp>
        <p:nvSpPr>
          <p:cNvPr id="3" name="TextBox 2"/>
          <p:cNvSpPr txBox="1"/>
          <p:nvPr/>
        </p:nvSpPr>
        <p:spPr>
          <a:xfrm>
            <a:off x="8523815" y="6508286"/>
            <a:ext cx="2705484" cy="138499"/>
          </a:xfrm>
          <a:prstGeom prst="rect">
            <a:avLst/>
          </a:prstGeom>
          <a:noFill/>
        </p:spPr>
        <p:txBody>
          <a:bodyPr lIns="0" tIns="0" rIns="0" bIns="0">
            <a:spAutoFit/>
          </a:bodyPr>
          <a:lstStyle/>
          <a:p>
            <a:pPr algn="r" defTabSz="914363">
              <a:defRPr/>
            </a:pPr>
            <a:r>
              <a:rPr lang="en-US" sz="900" dirty="0">
                <a:gradFill>
                  <a:gsLst>
                    <a:gs pos="0">
                      <a:srgbClr val="3B3B3B"/>
                    </a:gs>
                    <a:gs pos="86000">
                      <a:srgbClr val="3B3B3B"/>
                    </a:gs>
                  </a:gsLst>
                  <a:lin ang="5400000" scaled="0"/>
                </a:gradFill>
                <a:cs typeface="Arial" charset="0"/>
              </a:rPr>
              <a:t>© 2009 Microsoft Confidential</a:t>
            </a:r>
          </a:p>
        </p:txBody>
      </p:sp>
      <p:cxnSp>
        <p:nvCxnSpPr>
          <p:cNvPr id="4" name="Straight Connector 3"/>
          <p:cNvCxnSpPr/>
          <p:nvPr/>
        </p:nvCxnSpPr>
        <p:spPr>
          <a:xfrm rot="5400000">
            <a:off x="11345333" y="6577013"/>
            <a:ext cx="2286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0264309"/>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type="blank" preserve="1">
  <p:cSld name="WALKIN - Prints in GRAYSCALE">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7219844"/>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type="blank" preserve="1">
  <p:cSld name="1_WALKIN - Prints in GRAYSCALE">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1598706"/>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type="blank" preserve="1">
  <p:cSld name="2_WALKIN - Prints in GRAYSCALE">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1532542"/>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a:prstGeom prst="rect">
            <a:avLst/>
          </a:prstGeom>
        </p:spPr>
        <p:txBody>
          <a:bodyPr>
            <a:spAutoFit/>
          </a:bodyPr>
          <a:lstStyle>
            <a:lvl1pPr>
              <a:buClr>
                <a:schemeClr val="tx2"/>
              </a:buClr>
              <a:defRPr>
                <a:gradFill>
                  <a:gsLst>
                    <a:gs pos="0">
                      <a:schemeClr val="tx1"/>
                    </a:gs>
                    <a:gs pos="100000">
                      <a:schemeClr val="tx1"/>
                    </a:gs>
                  </a:gsLst>
                  <a:lin ang="5400000" scaled="0"/>
                </a:gradFill>
              </a:defRPr>
            </a:lvl1pPr>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a:xfrm>
            <a:off x="269240" y="289511"/>
            <a:ext cx="11655840" cy="899665"/>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764163930"/>
      </p:ext>
    </p:extLst>
  </p:cSld>
  <p:clrMapOvr>
    <a:masterClrMapping/>
  </p:clrMapOvr>
  <p:transition>
    <p:fade/>
  </p:transition>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type="blank" preserve="1">
  <p:cSld name="3_WALKIN - Prints in GRAYSCALE">
    <p:spTree>
      <p:nvGrpSpPr>
        <p:cNvPr id="1" name=""/>
        <p:cNvGrpSpPr/>
        <p:nvPr/>
      </p:nvGrpSpPr>
      <p:grpSpPr>
        <a:xfrm>
          <a:off x="0" y="0"/>
          <a:ext cx="0" cy="0"/>
          <a:chOff x="0" y="0"/>
          <a:chExt cx="0" cy="0"/>
        </a:xfrm>
      </p:grpSpPr>
    </p:spTree>
    <p:extLst>
      <p:ext uri="{BB962C8B-B14F-4D97-AF65-F5344CB8AC3E}">
        <p14:creationId xmlns:p14="http://schemas.microsoft.com/office/powerpoint/2010/main" val="2239686684"/>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type="blank" preserve="1">
  <p:cSld name="4_WALKIN - Prints in GRAYSCALE">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6206008"/>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type="blank" preserve="1">
  <p:cSld name="5_WALKIN - Prints in GRAYSCALE">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2096790"/>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10117" y="228602"/>
            <a:ext cx="11173883" cy="666387"/>
          </a:xfrm>
        </p:spPr>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0117" y="1447800"/>
            <a:ext cx="11173883"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74283447"/>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p:cSld name="Black Notes slide Layout">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10117" y="228602"/>
            <a:ext cx="11173883" cy="666387"/>
          </a:xfrm>
        </p:spPr>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0117" y="1447800"/>
            <a:ext cx="11173883"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8"/>
            <a:ext cx="12192001" cy="619125"/>
          </a:xfrm>
          <a:solidFill>
            <a:srgbClr val="FFFF99"/>
          </a:solidFill>
        </p:spPr>
        <p:txBody>
          <a:bodyPr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863172176"/>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Title and Text - no bullets">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1001" y="280419"/>
            <a:ext cx="11151917" cy="771151"/>
          </a:xfrm>
          <a:prstGeom prst="rect">
            <a:avLst/>
          </a:prstGeom>
        </p:spPr>
        <p:txBody>
          <a:bodyPr/>
          <a:lstStyle>
            <a:lvl1pPr>
              <a:defRPr>
                <a:solidFill>
                  <a:schemeClr val="tx1"/>
                </a:solidFill>
              </a:defRPr>
            </a:lvl1pPr>
          </a:lstStyle>
          <a:p>
            <a:r>
              <a:rPr lang="en-US" dirty="0" smtClean="0"/>
              <a:t>Click to edit Master title style</a:t>
            </a:r>
            <a:endParaRPr lang="en-US" dirty="0"/>
          </a:p>
        </p:txBody>
      </p:sp>
      <p:sp>
        <p:nvSpPr>
          <p:cNvPr id="5" name="Text Placeholder 4"/>
          <p:cNvSpPr>
            <a:spLocks noGrp="1"/>
          </p:cNvSpPr>
          <p:nvPr>
            <p:ph type="body" sz="quarter" idx="10" hasCustomPrompt="1"/>
          </p:nvPr>
        </p:nvSpPr>
        <p:spPr>
          <a:xfrm>
            <a:off x="377953" y="1402082"/>
            <a:ext cx="11151917" cy="1898981"/>
          </a:xfrm>
          <a:prstGeom prst="rect">
            <a:avLst/>
          </a:prstGeom>
        </p:spPr>
        <p:txBody>
          <a:bodyPr/>
          <a:lstStyle>
            <a:lvl1pPr marL="0" indent="0">
              <a:buNone/>
              <a:defRPr>
                <a:solidFill>
                  <a:schemeClr val="tx2"/>
                </a:solidFill>
              </a:defRPr>
            </a:lvl1pPr>
            <a:lvl2pPr marL="0" indent="0">
              <a:buNone/>
              <a:defRPr>
                <a:solidFill>
                  <a:schemeClr val="tx1"/>
                </a:solidFill>
                <a:latin typeface="+mj-lt"/>
              </a:defRPr>
            </a:lvl2pPr>
            <a:lvl3pPr marL="342900" indent="-342900">
              <a:buFont typeface="Wingdings" panose="05000000000000000000" pitchFamily="2" charset="2"/>
              <a:buChar char="§"/>
              <a:defRPr>
                <a:solidFill>
                  <a:schemeClr val="tx1"/>
                </a:solidFill>
                <a:latin typeface="+mj-lt"/>
              </a:defRPr>
            </a:lvl3pPr>
            <a:lvl4pPr marL="730250" indent="-285750">
              <a:buFont typeface="Wingdings" panose="05000000000000000000" pitchFamily="2" charset="2"/>
              <a:buChar char="§"/>
              <a:defRPr>
                <a:solidFill>
                  <a:schemeClr val="tx1"/>
                </a:solidFill>
              </a:defRPr>
            </a:lvl4pPr>
            <a:lvl5pPr marL="1828800" indent="0">
              <a:buNone/>
              <a:defRPr>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Tree>
    <p:extLst>
      <p:ext uri="{BB962C8B-B14F-4D97-AF65-F5344CB8AC3E}">
        <p14:creationId xmlns:p14="http://schemas.microsoft.com/office/powerpoint/2010/main" val="24818293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a:prstGeom prst="rect">
            <a:avLst/>
          </a:prstGeom>
        </p:spPr>
        <p:txBody>
          <a:bodyPr>
            <a:spAutoFit/>
          </a:bodyPr>
          <a:lstStyle>
            <a:lvl1pPr>
              <a:buClr>
                <a:schemeClr val="tx2"/>
              </a:buClr>
              <a:defRPr>
                <a:gradFill>
                  <a:gsLst>
                    <a:gs pos="0">
                      <a:schemeClr val="tx1"/>
                    </a:gs>
                    <a:gs pos="100000">
                      <a:schemeClr val="tx1"/>
                    </a:gs>
                  </a:gsLst>
                  <a:lin ang="5400000" scaled="0"/>
                </a:gradFill>
              </a:defRPr>
            </a:lvl1pPr>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a:xfrm>
            <a:off x="269240" y="289511"/>
            <a:ext cx="11655840" cy="899665"/>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30456061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3"/>
            <a:ext cx="11231365" cy="1218795"/>
          </a:xfrm>
          <a:prstGeom prst="rect">
            <a:avLst/>
          </a:prstGeom>
        </p:spPr>
        <p:txBody>
          <a:bodyPr/>
          <a:lstStyle>
            <a:lvl1pPr marL="0" indent="0">
              <a:buNone/>
              <a:defRPr lang="en-US" sz="8800" i="0" kern="1200" spc="-100" baseline="0" dirty="0" smtClean="0">
                <a:solidFill>
                  <a:schemeClr val="tx1">
                    <a:alpha val="99000"/>
                  </a:schemeClr>
                </a:solidFill>
                <a:latin typeface="Segoe UI Light" pitchFamily="34" charset="0"/>
                <a:ea typeface="+mn-ea"/>
                <a:cs typeface="+mn-cs"/>
              </a:defRPr>
            </a:lvl1pPr>
          </a:lstStyle>
          <a:p>
            <a:pPr marL="0" lvl="0" indent="0" algn="l" defTabSz="913929"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902" y="4343407"/>
            <a:ext cx="7515594" cy="443199"/>
          </a:xfrm>
          <a:prstGeom prst="rect">
            <a:avLst/>
          </a:prstGeom>
        </p:spPr>
        <p:txBody>
          <a:bodyPr/>
          <a:lstStyle>
            <a:lvl1pPr marL="0" indent="0">
              <a:buNone/>
              <a:defRPr lang="en-US" sz="3200" kern="1200" spc="-100" baseline="0" dirty="0">
                <a:solidFill>
                  <a:schemeClr val="tx1">
                    <a:alpha val="99000"/>
                  </a:schemeClr>
                </a:solidFill>
                <a:latin typeface="+mj-lt"/>
                <a:ea typeface="+mn-ea"/>
                <a:cs typeface="+mn-cs"/>
              </a:defRPr>
            </a:lvl1pPr>
          </a:lstStyle>
          <a:p>
            <a:pPr marL="0" lvl="0" indent="0" algn="l" defTabSz="913929"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53" y="6364653"/>
            <a:ext cx="1596068" cy="268365"/>
          </a:xfrm>
          <a:prstGeom prst="rect">
            <a:avLst/>
          </a:prstGeom>
          <a:noFill/>
          <a:ln>
            <a:noFill/>
          </a:ln>
        </p:spPr>
      </p:pic>
      <p:pic>
        <p:nvPicPr>
          <p:cNvPr id="7" name="Picture 6"/>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4" y="228602"/>
            <a:ext cx="2498478" cy="290339"/>
          </a:xfrm>
          <a:prstGeom prst="rect">
            <a:avLst/>
          </a:prstGeom>
        </p:spPr>
      </p:pic>
    </p:spTree>
    <p:extLst>
      <p:ext uri="{BB962C8B-B14F-4D97-AF65-F5344CB8AC3E}">
        <p14:creationId xmlns:p14="http://schemas.microsoft.com/office/powerpoint/2010/main" val="1026439726"/>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3_Custom Layout">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3" name="Picture 2" descr="WinAzure_rgb_Wht_M.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9304" y="291071"/>
            <a:ext cx="2862678" cy="747151"/>
          </a:xfrm>
          <a:prstGeom prst="rect">
            <a:avLst/>
          </a:prstGeom>
        </p:spPr>
      </p:pic>
      <p:pic>
        <p:nvPicPr>
          <p:cNvPr id="4" name="Picture 3" descr="MSFT_logotyp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601827" y="6029990"/>
            <a:ext cx="1320936" cy="506083"/>
          </a:xfrm>
          <a:prstGeom prst="rect">
            <a:avLst/>
          </a:prstGeom>
        </p:spPr>
      </p:pic>
      <p:sp>
        <p:nvSpPr>
          <p:cNvPr id="5" name="Text Placeholder 4"/>
          <p:cNvSpPr>
            <a:spLocks noGrp="1"/>
          </p:cNvSpPr>
          <p:nvPr>
            <p:ph type="body" sz="quarter" idx="12" hasCustomPrompt="1"/>
          </p:nvPr>
        </p:nvSpPr>
        <p:spPr>
          <a:xfrm>
            <a:off x="269240" y="4593273"/>
            <a:ext cx="6273418" cy="1794661"/>
          </a:xfrm>
          <a:prstGeom prst="rect">
            <a:avLst/>
          </a:prstGeom>
          <a:noFill/>
        </p:spPr>
        <p:txBody>
          <a:bodyPr lIns="143392" tIns="107544" rIns="143392" bIns="107544">
            <a:noAutofit/>
          </a:bodyPr>
          <a:lstStyle>
            <a:lvl1pPr marL="0" indent="0">
              <a:spcBef>
                <a:spcPts val="0"/>
              </a:spcBef>
              <a:buNone/>
              <a:defRPr sz="3500" spc="0" baseline="0">
                <a:solidFill>
                  <a:srgbClr val="0054A6"/>
                </a:solidFill>
                <a:latin typeface="+mj-lt"/>
              </a:defRPr>
            </a:lvl1pPr>
          </a:lstStyle>
          <a:p>
            <a:pPr lvl="0"/>
            <a:r>
              <a:rPr lang="en-US" dirty="0" smtClean="0"/>
              <a:t>Speaker name</a:t>
            </a:r>
          </a:p>
        </p:txBody>
      </p:sp>
      <p:sp>
        <p:nvSpPr>
          <p:cNvPr id="6" name="Title 1"/>
          <p:cNvSpPr>
            <a:spLocks noGrp="1"/>
          </p:cNvSpPr>
          <p:nvPr>
            <p:ph type="title" hasCustomPrompt="1"/>
          </p:nvPr>
        </p:nvSpPr>
        <p:spPr>
          <a:xfrm>
            <a:off x="269239" y="2881140"/>
            <a:ext cx="9860611" cy="919687"/>
          </a:xfrm>
          <a:prstGeom prst="rect">
            <a:avLst/>
          </a:prstGeom>
          <a:noFill/>
        </p:spPr>
        <p:txBody>
          <a:bodyPr lIns="143392" tIns="89620" rIns="143392" bIns="89620" anchor="t" anchorCtr="0"/>
          <a:lstStyle>
            <a:lvl1pPr>
              <a:defRPr sz="5300" spc="-99" baseline="0">
                <a:solidFill>
                  <a:srgbClr val="0054A6"/>
                </a:solidFill>
              </a:defRPr>
            </a:lvl1pPr>
          </a:lstStyle>
          <a:p>
            <a:r>
              <a:rPr lang="en-US" dirty="0" smtClean="0"/>
              <a:t>Presentation title</a:t>
            </a:r>
            <a:endParaRPr lang="en-US" dirty="0"/>
          </a:p>
        </p:txBody>
      </p:sp>
    </p:spTree>
    <p:extLst>
      <p:ext uri="{BB962C8B-B14F-4D97-AF65-F5344CB8AC3E}">
        <p14:creationId xmlns:p14="http://schemas.microsoft.com/office/powerpoint/2010/main" val="258112707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2" y="3878574"/>
            <a:ext cx="8964186" cy="1792326"/>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dirty="0" smtClean="0"/>
              <a:t>Speaker Name</a:t>
            </a:r>
          </a:p>
        </p:txBody>
      </p:sp>
      <p:sp>
        <p:nvSpPr>
          <p:cNvPr id="2" name="Footer Placeholder 1"/>
          <p:cNvSpPr>
            <a:spLocks noGrp="1"/>
          </p:cNvSpPr>
          <p:nvPr>
            <p:ph type="ftr" sz="quarter" idx="13"/>
          </p:nvPr>
        </p:nvSpPr>
        <p:spPr/>
        <p:txBody>
          <a:bodyPr/>
          <a:lstStyle/>
          <a:p>
            <a:r>
              <a:rPr smtClean="0">
                <a:gradFill>
                  <a:gsLst>
                    <a:gs pos="2239">
                      <a:srgbClr val="FFFFFF"/>
                    </a:gs>
                    <a:gs pos="11940">
                      <a:srgbClr val="FFFFFF"/>
                    </a:gs>
                  </a:gsLst>
                  <a:lin ang="5400000" scaled="0"/>
                </a:gradFill>
              </a:rPr>
              <a:t>Microsoft Confidential</a:t>
            </a:r>
            <a:endParaRPr>
              <a:gradFill>
                <a:gsLst>
                  <a:gs pos="2239">
                    <a:srgbClr val="FFFFFF"/>
                  </a:gs>
                  <a:gs pos="11940">
                    <a:srgbClr val="FFFFFF"/>
                  </a:gs>
                </a:gsLst>
                <a:lin ang="5400000" scaled="0"/>
              </a:gradFill>
            </a:endParaRP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FFFFFF"/>
                    </a:gs>
                    <a:gs pos="11940">
                      <a:srgbClr val="FFFFFF"/>
                    </a:gs>
                  </a:gsLst>
                  <a:lin ang="5400000" scaled="0"/>
                </a:gradFill>
              </a:rPr>
              <a:pPr/>
              <a:t>‹#›</a:t>
            </a:fld>
            <a:endParaRPr>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5226" y="470410"/>
            <a:ext cx="1606863" cy="352152"/>
          </a:xfrm>
          <a:prstGeom prst="rect">
            <a:avLst/>
          </a:prstGeom>
        </p:spPr>
      </p:pic>
    </p:spTree>
    <p:extLst>
      <p:ext uri="{BB962C8B-B14F-4D97-AF65-F5344CB8AC3E}">
        <p14:creationId xmlns:p14="http://schemas.microsoft.com/office/powerpoint/2010/main" val="2901378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0"/>
            <a:ext cx="12192000" cy="727700"/>
          </a:xfrm>
        </p:spPr>
        <p:txBody>
          <a:bodyPr/>
          <a:lstStyle>
            <a:lvl1pPr marL="0" indent="0">
              <a:buNone/>
              <a:defRPr/>
            </a:lvl1pPr>
          </a:lstStyle>
          <a:p>
            <a:r>
              <a:rPr lang="en-US" smtClean="0"/>
              <a:t>Click icon to add picture</a:t>
            </a:r>
            <a:endParaRPr lang="en-US"/>
          </a:p>
        </p:txBody>
      </p:sp>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257768" y="816708"/>
            <a:ext cx="11676463" cy="5761918"/>
          </a:xfrm>
          <a:prstGeom prst="rect">
            <a:avLst/>
          </a:prstGeom>
          <a:noFill/>
          <a:ln>
            <a:noFill/>
          </a:ln>
        </p:spPr>
      </p:pic>
      <p:sp>
        <p:nvSpPr>
          <p:cNvPr id="5"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smtClean="0"/>
              <a:t>Presentation title</a:t>
            </a:r>
            <a:endParaRPr lang="en-US" dirty="0"/>
          </a:p>
        </p:txBody>
      </p:sp>
      <p:pic>
        <p:nvPicPr>
          <p:cNvPr id="12" name="Picture 11"/>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213414" y="322490"/>
            <a:ext cx="9720817" cy="6256136"/>
          </a:xfrm>
          <a:prstGeom prst="rect">
            <a:avLst/>
          </a:prstGeom>
          <a:noFill/>
          <a:ln>
            <a:noFill/>
          </a:ln>
        </p:spPr>
      </p:pic>
    </p:spTree>
    <p:extLst>
      <p:ext uri="{BB962C8B-B14F-4D97-AF65-F5344CB8AC3E}">
        <p14:creationId xmlns:p14="http://schemas.microsoft.com/office/powerpoint/2010/main" val="6064568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Presentation Title Client">
    <p:bg>
      <p:bgPr>
        <a:solidFill>
          <a:schemeClr val="bg2">
            <a:lumMod val="75000"/>
          </a:schemeClr>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669253" y="4659483"/>
            <a:ext cx="10824813" cy="1847850"/>
          </a:xfrm>
          <a:prstGeom prst="rect">
            <a:avLst/>
          </a:prstGeom>
          <a:noFill/>
        </p:spPr>
        <p:txBody>
          <a:bodyPr lIns="146260" tIns="109696" rIns="146260" bIns="109696">
            <a:noAutofit/>
          </a:bodyPr>
          <a:lstStyle>
            <a:lvl1pPr marL="0" indent="0">
              <a:lnSpc>
                <a:spcPct val="120000"/>
              </a:lnSpc>
              <a:spcBef>
                <a:spcPts val="0"/>
              </a:spcBef>
              <a:buNone/>
              <a:defRPr sz="4200" spc="0" baseline="0">
                <a:solidFill>
                  <a:schemeClr val="tx1"/>
                </a:solidFill>
                <a:latin typeface="+mj-lt"/>
              </a:defRPr>
            </a:lvl1pPr>
          </a:lstStyle>
          <a:p>
            <a:pPr lvl="0"/>
            <a:r>
              <a:rPr lang="en-US" dirty="0" smtClean="0"/>
              <a:t>Speaker Name</a:t>
            </a:r>
          </a:p>
        </p:txBody>
      </p:sp>
      <p:sp>
        <p:nvSpPr>
          <p:cNvPr id="9" name="Title 1"/>
          <p:cNvSpPr>
            <a:spLocks noGrp="1"/>
          </p:cNvSpPr>
          <p:nvPr>
            <p:ph type="title" hasCustomPrompt="1"/>
          </p:nvPr>
        </p:nvSpPr>
        <p:spPr>
          <a:xfrm>
            <a:off x="667511" y="658368"/>
            <a:ext cx="10826497" cy="4001114"/>
          </a:xfrm>
          <a:prstGeom prst="rect">
            <a:avLst/>
          </a:prstGeom>
          <a:noFill/>
        </p:spPr>
        <p:txBody>
          <a:bodyPr lIns="146260" tIns="91413" rIns="146260" bIns="91413" anchor="b" anchorCtr="0"/>
          <a:lstStyle>
            <a:lvl1pPr>
              <a:lnSpc>
                <a:spcPct val="80000"/>
              </a:lnSpc>
              <a:defRPr sz="6400" spc="-98" baseline="0">
                <a:solidFill>
                  <a:schemeClr val="tx1"/>
                </a:solidFill>
              </a:defRPr>
            </a:lvl1pPr>
          </a:lstStyle>
          <a:p>
            <a:r>
              <a:rPr lang="en-US" dirty="0" smtClean="0"/>
              <a:t>Presentation title</a:t>
            </a:r>
            <a:endParaRPr lang="en-US" dirty="0"/>
          </a:p>
        </p:txBody>
      </p:sp>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r="72045"/>
          <a:stretch/>
        </p:blipFill>
        <p:spPr>
          <a:xfrm>
            <a:off x="10195560" y="5217338"/>
            <a:ext cx="1810512" cy="1289993"/>
          </a:xfrm>
          <a:prstGeom prst="rect">
            <a:avLst/>
          </a:prstGeom>
        </p:spPr>
      </p:pic>
      <p:pic>
        <p:nvPicPr>
          <p:cNvPr id="7" name="Picture 6"/>
          <p:cNvPicPr>
            <a:picLocks noChangeAspect="1"/>
          </p:cNvPicPr>
          <p:nvPr userDrawn="1"/>
        </p:nvPicPr>
        <p:blipFill rotWithShape="1">
          <a:blip r:embed="rId3">
            <a:extLst>
              <a:ext uri="{28A0092B-C50C-407E-A947-70E740481C1C}">
                <a14:useLocalDpi xmlns:a14="http://schemas.microsoft.com/office/drawing/2010/main" val="0"/>
              </a:ext>
            </a:extLst>
          </a:blip>
          <a:srcRect l="55237" t="5658" r="26940" b="65346"/>
          <a:stretch/>
        </p:blipFill>
        <p:spPr>
          <a:xfrm>
            <a:off x="9685177" y="5424198"/>
            <a:ext cx="702906" cy="765110"/>
          </a:xfrm>
          <a:prstGeom prst="rect">
            <a:avLst/>
          </a:prstGeom>
        </p:spPr>
      </p:pic>
    </p:spTree>
    <p:extLst>
      <p:ext uri="{BB962C8B-B14F-4D97-AF65-F5344CB8AC3E}">
        <p14:creationId xmlns:p14="http://schemas.microsoft.com/office/powerpoint/2010/main" val="39915687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0"/>
            <a:ext cx="12192000" cy="727700"/>
          </a:xfrm>
        </p:spPr>
        <p:txBody>
          <a:bodyPr/>
          <a:lstStyle>
            <a:lvl1pPr marL="0" indent="0">
              <a:buNone/>
              <a:defRPr/>
            </a:lvl1pPr>
          </a:lstStyle>
          <a:p>
            <a:r>
              <a:rPr lang="en-US" smtClean="0"/>
              <a:t>Click icon to add picture</a:t>
            </a:r>
            <a:endParaRPr lang="en-US"/>
          </a:p>
        </p:txBody>
      </p:sp>
      <p:sp>
        <p:nvSpPr>
          <p:cNvPr id="2" name="Footer Placeholder 1"/>
          <p:cNvSpPr>
            <a:spLocks noGrp="1"/>
          </p:cNvSpPr>
          <p:nvPr>
            <p:ph type="ftr" sz="quarter" idx="13"/>
          </p:nvPr>
        </p:nvSpPr>
        <p:spPr/>
        <p:txBody>
          <a:bodyPr/>
          <a:lstStyle/>
          <a:p>
            <a:r>
              <a:rPr smtClean="0">
                <a:gradFill>
                  <a:gsLst>
                    <a:gs pos="2239">
                      <a:srgbClr val="505050"/>
                    </a:gs>
                    <a:gs pos="11940">
                      <a:srgbClr val="505050"/>
                    </a:gs>
                  </a:gsLst>
                  <a:lin ang="5400000" scaled="0"/>
                </a:gradFill>
              </a:rPr>
              <a:t>Microsoft Confidential</a:t>
            </a:r>
            <a:endParaRPr>
              <a:gradFill>
                <a:gsLst>
                  <a:gs pos="2239">
                    <a:srgbClr val="505050"/>
                  </a:gs>
                  <a:gs pos="11940">
                    <a:srgbClr val="505050"/>
                  </a:gs>
                </a:gsLst>
                <a:lin ang="5400000" scaled="0"/>
              </a:gradFill>
            </a:endParaRP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505050"/>
                    </a:gs>
                    <a:gs pos="11940">
                      <a:srgbClr val="505050"/>
                    </a:gs>
                  </a:gsLst>
                  <a:lin ang="5400000" scaled="0"/>
                </a:gradFill>
              </a:rPr>
              <a:pPr/>
              <a:t>‹#›</a:t>
            </a:fld>
            <a:endParaRPr>
              <a:gradFill>
                <a:gsLst>
                  <a:gs pos="2239">
                    <a:srgbClr val="505050"/>
                  </a:gs>
                  <a:gs pos="11940">
                    <a:srgbClr val="505050"/>
                  </a:gs>
                </a:gsLst>
                <a:lin ang="5400000" scaled="0"/>
              </a:gradFill>
            </a:endParaRPr>
          </a:p>
        </p:txBody>
      </p:sp>
      <p:sp>
        <p:nvSpPr>
          <p:cNvPr id="7"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smtClean="0"/>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14996037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0"/>
            <a:ext cx="12192000" cy="727700"/>
          </a:xfrm>
        </p:spPr>
        <p:txBody>
          <a:bodyPr/>
          <a:lstStyle>
            <a:lvl1pPr marL="0" indent="0">
              <a:buNone/>
              <a:defRPr/>
            </a:lvl1pPr>
          </a:lstStyle>
          <a:p>
            <a:r>
              <a:rPr lang="en-US" smtClean="0"/>
              <a:t>Click icon to add picture</a:t>
            </a:r>
            <a:endParaRPr lang="en-US"/>
          </a:p>
        </p:txBody>
      </p:sp>
      <p:sp>
        <p:nvSpPr>
          <p:cNvPr id="5" name="Text Placeholder 4"/>
          <p:cNvSpPr>
            <a:spLocks noGrp="1"/>
          </p:cNvSpPr>
          <p:nvPr>
            <p:ph type="body" sz="quarter" idx="12" hasCustomPrompt="1"/>
          </p:nvPr>
        </p:nvSpPr>
        <p:spPr>
          <a:xfrm>
            <a:off x="271105" y="2084172"/>
            <a:ext cx="5376684" cy="1793110"/>
          </a:xfrm>
          <a:noFill/>
        </p:spPr>
        <p:txBody>
          <a:bodyPr lIns="182880" tIns="146304" rIns="182880" bIns="146304">
            <a:noAutofit/>
          </a:bodyPr>
          <a:lstStyle>
            <a:lvl1pPr marL="0" indent="0">
              <a:spcBef>
                <a:spcPts val="0"/>
              </a:spcBef>
              <a:buNone/>
              <a:defRPr sz="3529" spc="0" baseline="0">
                <a:gradFill>
                  <a:gsLst>
                    <a:gs pos="46903">
                      <a:srgbClr val="FFFFFF"/>
                    </a:gs>
                    <a:gs pos="83000">
                      <a:srgbClr val="FFFFFF"/>
                    </a:gs>
                  </a:gsLst>
                  <a:lin ang="5400000" scaled="1"/>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91069"/>
            <a:ext cx="5378485" cy="1793104"/>
          </a:xfrm>
          <a:noFill/>
        </p:spPr>
        <p:txBody>
          <a:bodyPr lIns="146304" tIns="91440" rIns="146304" bIns="91440" anchor="t" anchorCtr="0"/>
          <a:lstStyle>
            <a:lvl1pPr>
              <a:defRPr sz="5882" spc="-98" baseline="0">
                <a:gradFill>
                  <a:gsLst>
                    <a:gs pos="46903">
                      <a:srgbClr val="FFFFFF"/>
                    </a:gs>
                    <a:gs pos="83000">
                      <a:srgbClr val="FFFFFF"/>
                    </a:gs>
                  </a:gsLst>
                  <a:lin ang="5400000" scaled="1"/>
                </a:gradFill>
              </a:defRPr>
            </a:lvl1pPr>
          </a:lstStyle>
          <a:p>
            <a:r>
              <a:rPr lang="en-US" dirty="0" smtClean="0"/>
              <a:t>Presentation title</a:t>
            </a:r>
            <a:endParaRPr lang="en-US" dirty="0"/>
          </a:p>
        </p:txBody>
      </p:sp>
    </p:spTree>
    <p:extLst>
      <p:ext uri="{BB962C8B-B14F-4D97-AF65-F5344CB8AC3E}">
        <p14:creationId xmlns:p14="http://schemas.microsoft.com/office/powerpoint/2010/main" val="18421944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r>
              <a:rPr lang="en-US" smtClean="0"/>
              <a:t>Click icon to add picture</a:t>
            </a:r>
            <a:endParaRPr lang="en-US"/>
          </a:p>
        </p:txBody>
      </p:sp>
      <p:sp>
        <p:nvSpPr>
          <p:cNvPr id="9" name="Title 1"/>
          <p:cNvSpPr>
            <a:spLocks noGrp="1"/>
          </p:cNvSpPr>
          <p:nvPr>
            <p:ph type="title" hasCustomPrompt="1"/>
          </p:nvPr>
        </p:nvSpPr>
        <p:spPr>
          <a:xfrm>
            <a:off x="269303" y="2084172"/>
            <a:ext cx="5378485" cy="3586208"/>
          </a:xfrm>
          <a:noFill/>
        </p:spPr>
        <p:txBody>
          <a:bodyPr lIns="146304" tIns="91440" rIns="146304" bIns="91440" anchor="t" anchorCtr="0"/>
          <a:lstStyle>
            <a:lvl1pPr>
              <a:defRPr sz="5882" spc="-98" baseline="0">
                <a:gradFill>
                  <a:gsLst>
                    <a:gs pos="46903">
                      <a:schemeClr val="tx1"/>
                    </a:gs>
                    <a:gs pos="83000">
                      <a:schemeClr val="tx1"/>
                    </a:gs>
                  </a:gsLst>
                  <a:lin ang="5400000" scaled="1"/>
                </a:gradFill>
              </a:defRPr>
            </a:lvl1pPr>
          </a:lstStyle>
          <a:p>
            <a:r>
              <a:rPr lang="en-US" dirty="0" smtClean="0"/>
              <a:t>Pull quote</a:t>
            </a:r>
            <a:endParaRPr lang="en-US" dirty="0"/>
          </a:p>
        </p:txBody>
      </p:sp>
    </p:spTree>
    <p:extLst>
      <p:ext uri="{BB962C8B-B14F-4D97-AF65-F5344CB8AC3E}">
        <p14:creationId xmlns:p14="http://schemas.microsoft.com/office/powerpoint/2010/main" val="21054043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0"/>
            <a:ext cx="12192000" cy="727700"/>
          </a:xfrm>
        </p:spPr>
        <p:txBody>
          <a:bodyPr/>
          <a:lstStyle>
            <a:lvl1pPr marL="0" indent="0">
              <a:buNone/>
              <a:defRPr/>
            </a:lvl1pPr>
          </a:lstStyle>
          <a:p>
            <a:r>
              <a:rPr lang="en-US" smtClean="0"/>
              <a:t>Click icon to add picture</a:t>
            </a:r>
            <a:endParaRPr lang="en-US"/>
          </a:p>
        </p:txBody>
      </p:sp>
      <p:sp>
        <p:nvSpPr>
          <p:cNvPr id="13" name="Text Placeholder 5"/>
          <p:cNvSpPr>
            <a:spLocks noGrp="1"/>
          </p:cNvSpPr>
          <p:nvPr>
            <p:ph type="body" sz="quarter" idx="15" hasCustomPrompt="1"/>
          </p:nvPr>
        </p:nvSpPr>
        <p:spPr>
          <a:xfrm>
            <a:off x="5914482" y="708900"/>
            <a:ext cx="627497" cy="627586"/>
          </a:xfrm>
          <a:solidFill>
            <a:srgbClr val="68217A"/>
          </a:solidFill>
        </p:spPr>
        <p:txBody>
          <a:bodyPr anchor="ctr">
            <a:noAutofit/>
          </a:bodyP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smtClean="0"/>
              <a:t> </a:t>
            </a:r>
            <a:endParaRPr lang="en-US"/>
          </a:p>
        </p:txBody>
      </p:sp>
      <p:sp>
        <p:nvSpPr>
          <p:cNvPr id="14" name="Text Placeholder 5"/>
          <p:cNvSpPr>
            <a:spLocks noGrp="1"/>
          </p:cNvSpPr>
          <p:nvPr>
            <p:ph type="body" sz="quarter" idx="16" hasCustomPrompt="1"/>
          </p:nvPr>
        </p:nvSpPr>
        <p:spPr>
          <a:xfrm>
            <a:off x="9233488" y="891888"/>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smtClean="0"/>
              <a:t> </a:t>
            </a:r>
            <a:endParaRPr lang="en-US"/>
          </a:p>
        </p:txBody>
      </p:sp>
      <p:sp>
        <p:nvSpPr>
          <p:cNvPr id="15" name="Text Placeholder 5"/>
          <p:cNvSpPr>
            <a:spLocks noGrp="1"/>
          </p:cNvSpPr>
          <p:nvPr>
            <p:ph type="body" sz="quarter" idx="17" hasCustomPrompt="1"/>
          </p:nvPr>
        </p:nvSpPr>
        <p:spPr>
          <a:xfrm>
            <a:off x="9233488" y="3743932"/>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smtClean="0"/>
              <a:t> </a:t>
            </a:r>
            <a:endParaRPr lang="en-US"/>
          </a:p>
        </p:txBody>
      </p:sp>
      <p:sp>
        <p:nvSpPr>
          <p:cNvPr id="17" name="Title 16"/>
          <p:cNvSpPr>
            <a:spLocks noGrp="1"/>
          </p:cNvSpPr>
          <p:nvPr>
            <p:ph type="title"/>
          </p:nvPr>
        </p:nvSpPr>
        <p:spPr>
          <a:xfrm>
            <a:off x="4307819" y="3557465"/>
            <a:ext cx="2234160" cy="2228097"/>
          </a:xfrm>
          <a:solidFill>
            <a:srgbClr val="68217A"/>
          </a:solidFill>
        </p:spPr>
        <p:txBody>
          <a:bodyPr lIns="182880" tIns="146304" rIns="182880" bIns="146304"/>
          <a:lstStyle>
            <a:lvl1pPr>
              <a:defRPr sz="3137">
                <a:gradFill>
                  <a:gsLst>
                    <a:gs pos="14159">
                      <a:schemeClr val="bg1"/>
                    </a:gs>
                    <a:gs pos="37000">
                      <a:schemeClr val="bg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18683356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39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1250">
                      <a:schemeClr val="tx1"/>
                    </a:gs>
                    <a:gs pos="100000">
                      <a:schemeClr val="tx1"/>
                    </a:gs>
                  </a:gsLst>
                  <a:lin ang="5400000" scaled="0"/>
                </a:gradFill>
                <a:latin typeface="+mn-lt"/>
              </a:defRPr>
            </a:lvl1pPr>
            <a:lvl2pPr>
              <a:defRPr sz="1568"/>
            </a:lvl2pPr>
            <a:lvl3pPr>
              <a:defRPr sz="1568"/>
            </a:lvl3pPr>
            <a:lvl4pPr>
              <a:defRPr sz="1568"/>
            </a:lvl4pPr>
            <a:lvl5pPr marL="1008435" indent="0">
              <a:buNone/>
              <a:defRPr sz="1568"/>
            </a:lvl5pPr>
          </a:lstStyle>
          <a:p>
            <a:pPr lvl="0"/>
            <a:r>
              <a:rPr lang="en-US" smtClean="0"/>
              <a:t>Click to edit Master text styles</a:t>
            </a:r>
          </a:p>
        </p:txBody>
      </p:sp>
    </p:spTree>
    <p:extLst>
      <p:ext uri="{BB962C8B-B14F-4D97-AF65-F5344CB8AC3E}">
        <p14:creationId xmlns:p14="http://schemas.microsoft.com/office/powerpoint/2010/main" val="897898722"/>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3877277"/>
            <a:ext cx="5378549" cy="398335"/>
          </a:xfrm>
        </p:spPr>
        <p:txBody>
          <a:bodyPr/>
          <a:lstStyle>
            <a:lvl1pPr marL="0" indent="0">
              <a:buNone/>
              <a:defRPr sz="1568">
                <a:gradFill>
                  <a:gsLst>
                    <a:gs pos="92035">
                      <a:schemeClr val="tx1"/>
                    </a:gs>
                    <a:gs pos="84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196754131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94690">
                      <a:schemeClr val="tx1"/>
                    </a:gs>
                    <a:gs pos="86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123316497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smtClean="0"/>
              <a:t>Click to edit Master text styles</a:t>
            </a:r>
          </a:p>
        </p:txBody>
      </p:sp>
    </p:spTree>
    <p:extLst>
      <p:ext uri="{BB962C8B-B14F-4D97-AF65-F5344CB8AC3E}">
        <p14:creationId xmlns:p14="http://schemas.microsoft.com/office/powerpoint/2010/main" val="1442440264"/>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99115">
                      <a:schemeClr val="tx1"/>
                    </a:gs>
                    <a:gs pos="87611">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405149525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85821">
                      <a:schemeClr val="tx1"/>
                    </a:gs>
                    <a:gs pos="61194">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54867">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154245776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resentation Title Web">
    <p:bg>
      <p:bgPr>
        <a:solidFill>
          <a:schemeClr val="accent4">
            <a:lumMod val="75000"/>
          </a:schemeClr>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32822" r="39223"/>
          <a:stretch/>
        </p:blipFill>
        <p:spPr>
          <a:xfrm>
            <a:off x="10226680" y="5239512"/>
            <a:ext cx="1779392" cy="1267820"/>
          </a:xfrm>
          <a:prstGeom prst="rect">
            <a:avLst/>
          </a:prstGeom>
        </p:spPr>
      </p:pic>
      <p:sp>
        <p:nvSpPr>
          <p:cNvPr id="10" name="Text Placeholder 4"/>
          <p:cNvSpPr>
            <a:spLocks noGrp="1"/>
          </p:cNvSpPr>
          <p:nvPr>
            <p:ph type="body" sz="quarter" idx="12" hasCustomPrompt="1"/>
          </p:nvPr>
        </p:nvSpPr>
        <p:spPr>
          <a:xfrm>
            <a:off x="669253" y="4659483"/>
            <a:ext cx="10824813" cy="1847850"/>
          </a:xfrm>
          <a:prstGeom prst="rect">
            <a:avLst/>
          </a:prstGeom>
          <a:noFill/>
        </p:spPr>
        <p:txBody>
          <a:bodyPr lIns="146260" tIns="109696" rIns="146260" bIns="109696">
            <a:noAutofit/>
          </a:bodyPr>
          <a:lstStyle>
            <a:lvl1pPr marL="0" indent="0">
              <a:lnSpc>
                <a:spcPct val="120000"/>
              </a:lnSpc>
              <a:spcBef>
                <a:spcPts val="0"/>
              </a:spcBef>
              <a:buNone/>
              <a:defRPr sz="4200" spc="0" baseline="0">
                <a:solidFill>
                  <a:schemeClr val="tx1"/>
                </a:solidFill>
                <a:latin typeface="+mj-lt"/>
              </a:defRPr>
            </a:lvl1pPr>
          </a:lstStyle>
          <a:p>
            <a:pPr lvl="0"/>
            <a:r>
              <a:rPr lang="en-US" dirty="0" smtClean="0"/>
              <a:t>Speaker Name</a:t>
            </a:r>
          </a:p>
        </p:txBody>
      </p:sp>
      <p:sp>
        <p:nvSpPr>
          <p:cNvPr id="11" name="Title 1"/>
          <p:cNvSpPr>
            <a:spLocks noGrp="1"/>
          </p:cNvSpPr>
          <p:nvPr>
            <p:ph type="title" hasCustomPrompt="1"/>
          </p:nvPr>
        </p:nvSpPr>
        <p:spPr>
          <a:xfrm>
            <a:off x="667511" y="658368"/>
            <a:ext cx="10826497" cy="4001114"/>
          </a:xfrm>
          <a:prstGeom prst="rect">
            <a:avLst/>
          </a:prstGeom>
          <a:noFill/>
        </p:spPr>
        <p:txBody>
          <a:bodyPr lIns="146260" tIns="91413" rIns="146260" bIns="91413" anchor="b" anchorCtr="0"/>
          <a:lstStyle>
            <a:lvl1pPr>
              <a:lnSpc>
                <a:spcPct val="80000"/>
              </a:lnSpc>
              <a:defRPr sz="6400" spc="-98" baseline="0">
                <a:solidFill>
                  <a:schemeClr val="tx1"/>
                </a:solidFill>
              </a:defRPr>
            </a:lvl1pPr>
          </a:lstStyle>
          <a:p>
            <a:r>
              <a:rPr lang="en-US" dirty="0" smtClean="0"/>
              <a:t>Presentation title</a:t>
            </a:r>
            <a:endParaRPr lang="en-US" dirty="0"/>
          </a:p>
        </p:txBody>
      </p:sp>
      <p:pic>
        <p:nvPicPr>
          <p:cNvPr id="7" name="Picture 6"/>
          <p:cNvPicPr>
            <a:picLocks noChangeAspect="1"/>
          </p:cNvPicPr>
          <p:nvPr userDrawn="1"/>
        </p:nvPicPr>
        <p:blipFill rotWithShape="1">
          <a:blip r:embed="rId3">
            <a:extLst>
              <a:ext uri="{28A0092B-C50C-407E-A947-70E740481C1C}">
                <a14:useLocalDpi xmlns:a14="http://schemas.microsoft.com/office/drawing/2010/main" val="0"/>
              </a:ext>
            </a:extLst>
          </a:blip>
          <a:srcRect l="31105" t="39604" r="51072" b="31400"/>
          <a:stretch/>
        </p:blipFill>
        <p:spPr>
          <a:xfrm>
            <a:off x="667511" y="5952931"/>
            <a:ext cx="513432" cy="558868"/>
          </a:xfrm>
          <a:prstGeom prst="rect">
            <a:avLst/>
          </a:prstGeom>
        </p:spPr>
      </p:pic>
    </p:spTree>
    <p:extLst>
      <p:ext uri="{BB962C8B-B14F-4D97-AF65-F5344CB8AC3E}">
        <p14:creationId xmlns:p14="http://schemas.microsoft.com/office/powerpoint/2010/main" val="16986224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86721527"/>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0"/>
            <a:ext cx="5884345" cy="727700"/>
          </a:xfrm>
        </p:spPr>
        <p:txBody>
          <a:bodyPr/>
          <a:lstStyle>
            <a:lvl1pPr marL="0" indent="0">
              <a:buNone/>
              <a:defRPr/>
            </a:lvl1pPr>
          </a:lstStyle>
          <a:p>
            <a:r>
              <a:rPr lang="en-US" smtClean="0"/>
              <a:t>Click icon to add picture</a:t>
            </a:r>
            <a:endParaRPr lang="en-US" dirty="0"/>
          </a:p>
        </p:txBody>
      </p:sp>
      <p:sp>
        <p:nvSpPr>
          <p:cNvPr id="6" name="Content Placeholder 5"/>
          <p:cNvSpPr>
            <a:spLocks noGrp="1"/>
          </p:cNvSpPr>
          <p:nvPr>
            <p:ph sz="quarter" idx="10"/>
          </p:nvPr>
        </p:nvSpPr>
        <p:spPr>
          <a:xfrm>
            <a:off x="5647788" y="1187621"/>
            <a:ext cx="6274974" cy="588449"/>
          </a:xfrm>
        </p:spPr>
        <p:txBody>
          <a:bodyPr/>
          <a:lstStyle>
            <a:lvl1pPr marL="0" indent="0">
              <a:buNone/>
              <a:defRPr sz="2941"/>
            </a:lvl1pPr>
          </a:lstStyle>
          <a:p>
            <a:pPr lvl="0"/>
            <a:r>
              <a:rPr lang="en-US" smtClean="0"/>
              <a:t>Click to edit Master text styles</a:t>
            </a:r>
          </a:p>
        </p:txBody>
      </p:sp>
    </p:spTree>
    <p:extLst>
      <p:ext uri="{BB962C8B-B14F-4D97-AF65-F5344CB8AC3E}">
        <p14:creationId xmlns:p14="http://schemas.microsoft.com/office/powerpoint/2010/main" val="3996582852"/>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1426106398"/>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1663914"/>
            <a:ext cx="8964248" cy="669927"/>
          </a:xfrm>
        </p:spPr>
        <p:txBody>
          <a:bodyPr/>
          <a:lstStyle>
            <a:lvl1pPr marL="0" indent="0">
              <a:buNone/>
              <a:defRPr sz="3529"/>
            </a:lvl1pPr>
            <a:lvl2pPr>
              <a:defRPr sz="3529"/>
            </a:lvl2pPr>
            <a:lvl3pPr>
              <a:defRPr sz="3529"/>
            </a:lvl3pPr>
            <a:lvl4pPr>
              <a:defRPr sz="3529"/>
            </a:lvl4pPr>
            <a:lvl5pPr>
              <a:defRPr sz="3529"/>
            </a:lvl5pPr>
          </a:lstStyle>
          <a:p>
            <a:pPr lvl="0"/>
            <a:r>
              <a:rPr lang="en-US" smtClean="0"/>
              <a:t>Click to edit Master text styles</a:t>
            </a:r>
          </a:p>
        </p:txBody>
      </p:sp>
    </p:spTree>
    <p:extLst>
      <p:ext uri="{BB962C8B-B14F-4D97-AF65-F5344CB8AC3E}">
        <p14:creationId xmlns:p14="http://schemas.microsoft.com/office/powerpoint/2010/main" val="3248656795"/>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1663938"/>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smtClean="0"/>
              <a:t>Click to edit Master text styles</a:t>
            </a:r>
          </a:p>
        </p:txBody>
      </p:sp>
    </p:spTree>
    <p:extLst>
      <p:ext uri="{BB962C8B-B14F-4D97-AF65-F5344CB8AC3E}">
        <p14:creationId xmlns:p14="http://schemas.microsoft.com/office/powerpoint/2010/main" val="1997033380"/>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192000" cy="727700"/>
          </a:xfrm>
        </p:spPr>
        <p:txBody>
          <a:bodyPr/>
          <a:lstStyle/>
          <a:p>
            <a:r>
              <a:rPr lang="en-US" smtClean="0"/>
              <a:t>Click icon to add picture</a:t>
            </a:r>
            <a:endParaRPr lang="en-US" dirty="0"/>
          </a:p>
        </p:txBody>
      </p:sp>
      <p:sp>
        <p:nvSpPr>
          <p:cNvPr id="2" name="Title 1"/>
          <p:cNvSpPr>
            <a:spLocks noGrp="1"/>
          </p:cNvSpPr>
          <p:nvPr>
            <p:ph type="title"/>
          </p:nvPr>
        </p:nvSpPr>
        <p:spPr/>
        <p:txBody>
          <a:bodyPr/>
          <a:lstStyle>
            <a:lvl1pPr>
              <a:defRPr sz="4705">
                <a:gradFill>
                  <a:gsLst>
                    <a:gs pos="69027">
                      <a:schemeClr val="tx1"/>
                    </a:gs>
                    <a:gs pos="22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4062573290"/>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5840" cy="737413"/>
          </a:xfrm>
        </p:spPr>
        <p:txBody>
          <a:bodyPr/>
          <a:lstStyle>
            <a:lvl1pPr>
              <a:defRPr sz="3529"/>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2980725"/>
            <a:ext cx="11653523" cy="506972"/>
          </a:xfrm>
        </p:spPr>
        <p:txBody>
          <a:bodyPr/>
          <a:lstStyle>
            <a:lvl1pPr marL="0" indent="0">
              <a:buNone/>
              <a:defRPr sz="2353"/>
            </a:lvl1pPr>
          </a:lstStyle>
          <a:p>
            <a:pPr lvl="0"/>
            <a:r>
              <a:rPr lang="en-US" smtClean="0"/>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smtClean="0"/>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smtClean="0"/>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smtClean="0"/>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smtClean="0"/>
              <a:t>Click to edit Master text styles</a:t>
            </a:r>
          </a:p>
        </p:txBody>
      </p:sp>
    </p:spTree>
    <p:extLst>
      <p:ext uri="{BB962C8B-B14F-4D97-AF65-F5344CB8AC3E}">
        <p14:creationId xmlns:p14="http://schemas.microsoft.com/office/powerpoint/2010/main" val="2857261269"/>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1663913"/>
            <a:ext cx="5378549" cy="4903020"/>
          </a:xfrm>
          <a:solidFill>
            <a:schemeClr val="accent1">
              <a:alpha val="90000"/>
            </a:schemeClr>
          </a:solidFill>
        </p:spPr>
        <p:txBody>
          <a:bodyPr lIns="182880" tIns="146304" rIns="182880" bIns="146304">
            <a:noAutofit/>
          </a:bodyPr>
          <a:lstStyle>
            <a:lvl1pPr marL="0" indent="0">
              <a:buNone/>
              <a:defRPr sz="2353">
                <a:gradFill>
                  <a:gsLst>
                    <a:gs pos="10619">
                      <a:schemeClr val="bg1"/>
                    </a:gs>
                    <a:gs pos="33000">
                      <a:schemeClr val="bg1"/>
                    </a:gs>
                  </a:gsLst>
                  <a:lin ang="5400000" scaled="0"/>
                </a:gradFill>
              </a:defRPr>
            </a:lvl1pPr>
            <a:lvl2pPr>
              <a:defRPr sz="1961"/>
            </a:lvl2pPr>
            <a:lvl3pPr>
              <a:defRPr sz="1961"/>
            </a:lvl3pPr>
            <a:lvl4pPr>
              <a:defRPr sz="1765"/>
            </a:lvl4pPr>
            <a:lvl5pPr>
              <a:defRPr sz="1765"/>
            </a:lvl5pPr>
          </a:lstStyle>
          <a:p>
            <a:pPr lvl="0"/>
            <a:r>
              <a:rPr lang="en-US" smtClean="0"/>
              <a:t>Click to edit Master text styles</a:t>
            </a:r>
          </a:p>
        </p:txBody>
      </p:sp>
    </p:spTree>
    <p:extLst>
      <p:ext uri="{BB962C8B-B14F-4D97-AF65-F5344CB8AC3E}">
        <p14:creationId xmlns:p14="http://schemas.microsoft.com/office/powerpoint/2010/main" val="1201222212"/>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smtClean="0"/>
              <a:t>Click to edit Master title style</a:t>
            </a:r>
            <a:endParaRPr lang="en-US" dirty="0"/>
          </a:p>
        </p:txBody>
      </p:sp>
    </p:spTree>
    <p:extLst>
      <p:ext uri="{BB962C8B-B14F-4D97-AF65-F5344CB8AC3E}">
        <p14:creationId xmlns:p14="http://schemas.microsoft.com/office/powerpoint/2010/main" val="3110929620"/>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17647517"/>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Presentation Title Cloud">
    <p:bg>
      <p:bgPr>
        <a:solidFill>
          <a:schemeClr val="accent5">
            <a:lumMod val="50000"/>
          </a:schemeClr>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65006" r="-498"/>
          <a:stretch/>
        </p:blipFill>
        <p:spPr>
          <a:xfrm>
            <a:off x="9840177" y="0"/>
            <a:ext cx="2020390" cy="1133856"/>
          </a:xfrm>
          <a:prstGeom prst="rect">
            <a:avLst/>
          </a:prstGeom>
        </p:spPr>
      </p:pic>
      <p:sp>
        <p:nvSpPr>
          <p:cNvPr id="10" name="Text Placeholder 4"/>
          <p:cNvSpPr>
            <a:spLocks noGrp="1"/>
          </p:cNvSpPr>
          <p:nvPr>
            <p:ph type="body" sz="quarter" idx="12" hasCustomPrompt="1"/>
          </p:nvPr>
        </p:nvSpPr>
        <p:spPr>
          <a:xfrm>
            <a:off x="669253" y="4659483"/>
            <a:ext cx="10824813" cy="1847850"/>
          </a:xfrm>
          <a:prstGeom prst="rect">
            <a:avLst/>
          </a:prstGeom>
          <a:noFill/>
        </p:spPr>
        <p:txBody>
          <a:bodyPr lIns="146260" tIns="109696" rIns="146260" bIns="109696">
            <a:noAutofit/>
          </a:bodyPr>
          <a:lstStyle>
            <a:lvl1pPr marL="0" indent="0">
              <a:lnSpc>
                <a:spcPct val="120000"/>
              </a:lnSpc>
              <a:spcBef>
                <a:spcPts val="0"/>
              </a:spcBef>
              <a:buNone/>
              <a:defRPr sz="4200" spc="0" baseline="0">
                <a:solidFill>
                  <a:schemeClr val="tx1"/>
                </a:solidFill>
                <a:latin typeface="+mj-lt"/>
              </a:defRPr>
            </a:lvl1pPr>
          </a:lstStyle>
          <a:p>
            <a:pPr lvl="0"/>
            <a:r>
              <a:rPr lang="en-US" dirty="0" smtClean="0"/>
              <a:t>Speaker Name</a:t>
            </a:r>
          </a:p>
        </p:txBody>
      </p:sp>
      <p:sp>
        <p:nvSpPr>
          <p:cNvPr id="11" name="Title 1"/>
          <p:cNvSpPr>
            <a:spLocks noGrp="1"/>
          </p:cNvSpPr>
          <p:nvPr>
            <p:ph type="title" hasCustomPrompt="1"/>
          </p:nvPr>
        </p:nvSpPr>
        <p:spPr>
          <a:xfrm>
            <a:off x="667511" y="658368"/>
            <a:ext cx="10826497" cy="4001114"/>
          </a:xfrm>
          <a:prstGeom prst="rect">
            <a:avLst/>
          </a:prstGeom>
          <a:noFill/>
        </p:spPr>
        <p:txBody>
          <a:bodyPr lIns="146260" tIns="91413" rIns="146260" bIns="91413" anchor="b" anchorCtr="0"/>
          <a:lstStyle>
            <a:lvl1pPr>
              <a:lnSpc>
                <a:spcPct val="80000"/>
              </a:lnSpc>
              <a:defRPr sz="6400" spc="-98" baseline="0">
                <a:solidFill>
                  <a:schemeClr val="tx1"/>
                </a:solidFill>
              </a:defRPr>
            </a:lvl1pPr>
          </a:lstStyle>
          <a:p>
            <a:r>
              <a:rPr lang="en-US" dirty="0" smtClean="0"/>
              <a:t>Presentation title</a:t>
            </a:r>
            <a:endParaRPr lang="en-US" dirty="0"/>
          </a:p>
        </p:txBody>
      </p:sp>
      <p:pic>
        <p:nvPicPr>
          <p:cNvPr id="5" name="Picture 4"/>
          <p:cNvPicPr>
            <a:picLocks noChangeAspect="1"/>
          </p:cNvPicPr>
          <p:nvPr userDrawn="1"/>
        </p:nvPicPr>
        <p:blipFill rotWithShape="1">
          <a:blip r:embed="rId3">
            <a:extLst>
              <a:ext uri="{28A0092B-C50C-407E-A947-70E740481C1C}">
                <a14:useLocalDpi xmlns:a14="http://schemas.microsoft.com/office/drawing/2010/main" val="0"/>
              </a:ext>
            </a:extLst>
          </a:blip>
          <a:srcRect l="76530" t="45026" r="5647" b="25978"/>
          <a:stretch/>
        </p:blipFill>
        <p:spPr>
          <a:xfrm>
            <a:off x="7744409" y="751301"/>
            <a:ext cx="702906" cy="765110"/>
          </a:xfrm>
          <a:prstGeom prst="rect">
            <a:avLst/>
          </a:prstGeom>
        </p:spPr>
      </p:pic>
    </p:spTree>
    <p:extLst>
      <p:ext uri="{BB962C8B-B14F-4D97-AF65-F5344CB8AC3E}">
        <p14:creationId xmlns:p14="http://schemas.microsoft.com/office/powerpoint/2010/main" val="23577265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3131" y="291069"/>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68928" y="2081060"/>
            <a:ext cx="11655840" cy="2692769"/>
          </a:xfrm>
        </p:spPr>
        <p:txBody>
          <a:bodyPr/>
          <a:lstStyle>
            <a:lvl1pPr>
              <a:defRPr sz="8627">
                <a:gradFill>
                  <a:gsLst>
                    <a:gs pos="885">
                      <a:schemeClr val="tx1"/>
                    </a:gs>
                    <a:gs pos="11194">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101359858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081060"/>
            <a:ext cx="11655840" cy="2692769"/>
          </a:xfrm>
        </p:spPr>
        <p:txBody>
          <a:bodyPr/>
          <a:lstStyle>
            <a:lvl1pPr>
              <a:defRPr sz="8627">
                <a:gradFill>
                  <a:gsLst>
                    <a:gs pos="0">
                      <a:schemeClr val="tx1"/>
                    </a:gs>
                    <a:gs pos="11194">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50595965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070"/>
            <a:ext cx="11655840" cy="1793104"/>
          </a:xfrm>
        </p:spPr>
        <p:txBody>
          <a:bodyPr/>
          <a:lstStyle>
            <a:lvl1pPr>
              <a:defRPr sz="5294">
                <a:gradFill>
                  <a:gsLst>
                    <a:gs pos="885">
                      <a:schemeClr val="tx1"/>
                    </a:gs>
                    <a:gs pos="11194">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76852407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928" y="2087885"/>
            <a:ext cx="11655840" cy="899665"/>
          </a:xfrm>
        </p:spPr>
        <p:txBody>
          <a:bodyPr/>
          <a:lstStyle>
            <a:lvl1pPr>
              <a:defRPr sz="5882"/>
            </a:lvl1pPr>
          </a:lstStyle>
          <a:p>
            <a:r>
              <a:rPr lang="en-US" dirty="0" smtClean="0"/>
              <a:t>Thank you</a:t>
            </a:r>
            <a:endParaRPr lang="en-US" dirty="0"/>
          </a:p>
        </p:txBody>
      </p:sp>
    </p:spTree>
    <p:extLst>
      <p:ext uri="{BB962C8B-B14F-4D97-AF65-F5344CB8AC3E}">
        <p14:creationId xmlns:p14="http://schemas.microsoft.com/office/powerpoint/2010/main" val="3270247987"/>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3"/>
            <a:ext cx="11151918" cy="931209"/>
          </a:xfrm>
        </p:spPr>
        <p:txBody>
          <a:bodyPr/>
          <a:lstStyle>
            <a:lvl1pPr>
              <a:defRPr sz="5415"/>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799"/>
            <a:ext cx="11151918" cy="1131079"/>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663" indent="-40315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676" indent="-3460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167" indent="-33649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3" name="Picture 2"/>
          <p:cNvPicPr>
            <a:picLocks noChangeAspect="1"/>
          </p:cNvPicPr>
          <p:nvPr userDrawn="1"/>
        </p:nvPicPr>
        <p:blipFill>
          <a:blip r:embed="rId3"/>
          <a:stretch>
            <a:fillRect/>
          </a:stretch>
        </p:blipFill>
        <p:spPr>
          <a:xfrm>
            <a:off x="301628" y="5992337"/>
            <a:ext cx="2865368" cy="743776"/>
          </a:xfrm>
          <a:prstGeom prst="rect">
            <a:avLst/>
          </a:prstGeom>
        </p:spPr>
      </p:pic>
    </p:spTree>
    <p:extLst>
      <p:ext uri="{BB962C8B-B14F-4D97-AF65-F5344CB8AC3E}">
        <p14:creationId xmlns:p14="http://schemas.microsoft.com/office/powerpoint/2010/main" val="2961252448"/>
      </p:ext>
    </p:extLst>
  </p:cSld>
  <p:clrMapOvr>
    <a:masterClrMapping/>
  </p:clrMapOvr>
  <p:transition>
    <p:wipe dir="r"/>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067483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Заголовок и объект">
    <p:spTree>
      <p:nvGrpSpPr>
        <p:cNvPr id="1" name=""/>
        <p:cNvGrpSpPr/>
        <p:nvPr/>
      </p:nvGrpSpPr>
      <p:grpSpPr>
        <a:xfrm>
          <a:off x="0" y="0"/>
          <a:ext cx="0" cy="0"/>
          <a:chOff x="0" y="0"/>
          <a:chExt cx="0" cy="0"/>
        </a:xfrm>
      </p:grpSpPr>
      <p:sp>
        <p:nvSpPr>
          <p:cNvPr id="3" name="Содержимое 2"/>
          <p:cNvSpPr>
            <a:spLocks noGrp="1"/>
          </p:cNvSpPr>
          <p:nvPr>
            <p:ph idx="1"/>
          </p:nvPr>
        </p:nvSpPr>
        <p:spPr>
          <a:xfrm>
            <a:off x="761962" y="2571745"/>
            <a:ext cx="10820438" cy="2123620"/>
          </a:xfrm>
          <a:prstGeom prst="rect">
            <a:avLst/>
          </a:prstGeom>
        </p:spPr>
        <p:txBody>
          <a:bodyPr lIns="121883" tIns="60941" rIns="121883" bIns="60941"/>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4" name="Дата 3"/>
          <p:cNvSpPr>
            <a:spLocks noGrp="1"/>
          </p:cNvSpPr>
          <p:nvPr>
            <p:ph type="dt" sz="half" idx="10"/>
          </p:nvPr>
        </p:nvSpPr>
        <p:spPr>
          <a:xfrm>
            <a:off x="609600" y="6356354"/>
            <a:ext cx="2844800" cy="365125"/>
          </a:xfrm>
          <a:prstGeom prst="rect">
            <a:avLst/>
          </a:prstGeom>
        </p:spPr>
        <p:txBody>
          <a:bodyPr lIns="121883" tIns="60941" rIns="121883" bIns="60941"/>
          <a:lstStyle/>
          <a:p>
            <a:pPr defTabSz="914367"/>
            <a:fld id="{00B0806A-3FF6-4D4F-A34C-75A45DBA47E5}" type="datetimeFigureOut">
              <a:rPr lang="ru-RU" smtClean="0">
                <a:solidFill>
                  <a:prstClr val="black"/>
                </a:solidFill>
              </a:rPr>
              <a:pPr defTabSz="914367"/>
              <a:t>22.04.2015</a:t>
            </a:fld>
            <a:endParaRPr lang="ru-RU" dirty="0">
              <a:solidFill>
                <a:prstClr val="black"/>
              </a:solidFill>
            </a:endParaRPr>
          </a:p>
        </p:txBody>
      </p:sp>
      <p:sp>
        <p:nvSpPr>
          <p:cNvPr id="5" name="Нижний колонтитул 4"/>
          <p:cNvSpPr>
            <a:spLocks noGrp="1"/>
          </p:cNvSpPr>
          <p:nvPr>
            <p:ph type="ftr" sz="quarter" idx="11"/>
          </p:nvPr>
        </p:nvSpPr>
        <p:spPr>
          <a:xfrm>
            <a:off x="4165601" y="6356354"/>
            <a:ext cx="3860800" cy="365125"/>
          </a:xfrm>
          <a:prstGeom prst="rect">
            <a:avLst/>
          </a:prstGeom>
        </p:spPr>
        <p:txBody>
          <a:bodyPr lIns="121883" tIns="60941" rIns="121883" bIns="60941"/>
          <a:lstStyle/>
          <a:p>
            <a:endParaRPr lang="ru-RU" dirty="0">
              <a:solidFill>
                <a:prstClr val="black"/>
              </a:solidFill>
            </a:endParaRPr>
          </a:p>
        </p:txBody>
      </p:sp>
      <p:sp>
        <p:nvSpPr>
          <p:cNvPr id="6" name="Номер слайда 5"/>
          <p:cNvSpPr>
            <a:spLocks noGrp="1"/>
          </p:cNvSpPr>
          <p:nvPr>
            <p:ph type="sldNum" sz="quarter" idx="12"/>
          </p:nvPr>
        </p:nvSpPr>
        <p:spPr>
          <a:xfrm>
            <a:off x="8737602" y="6356354"/>
            <a:ext cx="2844800" cy="365125"/>
          </a:xfrm>
          <a:prstGeom prst="rect">
            <a:avLst/>
          </a:prstGeom>
        </p:spPr>
        <p:txBody>
          <a:bodyPr lIns="121883" tIns="60941" rIns="121883" bIns="60941"/>
          <a:lstStyle/>
          <a:p>
            <a:fld id="{E5742F8B-14A1-4CD8-A0DC-ECD3BCB5B6F8}" type="slidenum">
              <a:rPr lang="ru-RU">
                <a:solidFill>
                  <a:prstClr val="black"/>
                </a:solidFill>
              </a:rPr>
              <a:pPr/>
              <a:t>‹#›</a:t>
            </a:fld>
            <a:endParaRPr lang="ru-RU" dirty="0">
              <a:solidFill>
                <a:prstClr val="black"/>
              </a:solidFill>
            </a:endParaRPr>
          </a:p>
        </p:txBody>
      </p:sp>
      <p:sp>
        <p:nvSpPr>
          <p:cNvPr id="7" name="Заголовок 1"/>
          <p:cNvSpPr>
            <a:spLocks noGrp="1"/>
          </p:cNvSpPr>
          <p:nvPr>
            <p:ph type="title"/>
          </p:nvPr>
        </p:nvSpPr>
        <p:spPr>
          <a:xfrm>
            <a:off x="761964" y="1214424"/>
            <a:ext cx="10782299" cy="870969"/>
          </a:xfrm>
          <a:prstGeom prst="rect">
            <a:avLst/>
          </a:prstGeom>
        </p:spPr>
        <p:txBody>
          <a:bodyPr lIns="121883" tIns="60941" rIns="121883" bIns="60941"/>
          <a:lstStyle>
            <a:lvl1pPr algn="l">
              <a:defRPr/>
            </a:lvl1pPr>
          </a:lstStyle>
          <a:p>
            <a:r>
              <a:rPr lang="ru-RU" dirty="0" smtClean="0"/>
              <a:t>Образец заголовка</a:t>
            </a:r>
            <a:endParaRPr lang="ru-RU" dirty="0"/>
          </a:p>
        </p:txBody>
      </p:sp>
    </p:spTree>
    <p:extLst>
      <p:ext uri="{BB962C8B-B14F-4D97-AF65-F5344CB8AC3E}">
        <p14:creationId xmlns:p14="http://schemas.microsoft.com/office/powerpoint/2010/main" val="414730955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1535908191"/>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endParaRPr>
          </a:p>
        </p:txBody>
      </p:sp>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220736828"/>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endParaRPr>
          </a:p>
        </p:txBody>
      </p:sp>
      <p:sp>
        <p:nvSpPr>
          <p:cNvPr id="2" name="Title 1"/>
          <p:cNvSpPr>
            <a:spLocks noGrp="1"/>
          </p:cNvSpPr>
          <p:nvPr>
            <p:ph type="ctrTitle" hasCustomPrompt="1"/>
          </p:nvPr>
        </p:nvSpPr>
        <p:spPr>
          <a:xfrm>
            <a:off x="606175" y="2235200"/>
            <a:ext cx="11034445" cy="2387600"/>
          </a:xfrm>
        </p:spPr>
        <p:txBody>
          <a:bodyPr anchor="b">
            <a:normAutofit/>
          </a:bodyPr>
          <a:lstStyle>
            <a:lvl1pPr algn="l">
              <a:defRPr sz="13800"/>
            </a:lvl1pPr>
          </a:lstStyle>
          <a:p>
            <a:r>
              <a:rPr lang="en-US" dirty="0" smtClean="0"/>
              <a:t>Video</a:t>
            </a:r>
            <a:endParaRPr lang="en-US" dirty="0"/>
          </a:p>
        </p:txBody>
      </p:sp>
    </p:spTree>
    <p:extLst>
      <p:ext uri="{BB962C8B-B14F-4D97-AF65-F5344CB8AC3E}">
        <p14:creationId xmlns:p14="http://schemas.microsoft.com/office/powerpoint/2010/main" val="37057457"/>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p:bg>
      <p:bgPr>
        <a:solidFill>
          <a:schemeClr val="tx2">
            <a:lumMod val="75000"/>
          </a:schemeClr>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5" hasCustomPrompt="1"/>
          </p:nvPr>
        </p:nvSpPr>
        <p:spPr>
          <a:xfrm>
            <a:off x="704087" y="4807209"/>
            <a:ext cx="10499532" cy="785722"/>
          </a:xfrm>
          <a:prstGeom prst="rect">
            <a:avLst/>
          </a:prstGeom>
        </p:spPr>
        <p:txBody>
          <a:bodyPr/>
          <a:lstStyle>
            <a:lvl1pPr marL="0" indent="0" algn="l">
              <a:lnSpc>
                <a:spcPct val="100000"/>
              </a:lnSpc>
              <a:spcBef>
                <a:spcPts val="0"/>
              </a:spcBef>
              <a:buNone/>
              <a:defRPr sz="2400">
                <a:solidFill>
                  <a:schemeClr val="bg2"/>
                </a:solidFill>
                <a:latin typeface="+mj-lt"/>
              </a:defRPr>
            </a:lvl1pPr>
          </a:lstStyle>
          <a:p>
            <a:pPr lvl="0"/>
            <a:r>
              <a:rPr lang="en-US" dirty="0" smtClean="0"/>
              <a:t>SUBTITLE</a:t>
            </a:r>
            <a:endParaRPr lang="ru-RU" dirty="0"/>
          </a:p>
        </p:txBody>
      </p:sp>
      <p:sp>
        <p:nvSpPr>
          <p:cNvPr id="29" name="Text Placeholder 7"/>
          <p:cNvSpPr>
            <a:spLocks noGrp="1"/>
          </p:cNvSpPr>
          <p:nvPr>
            <p:ph type="body" sz="quarter" idx="27" hasCustomPrompt="1"/>
          </p:nvPr>
        </p:nvSpPr>
        <p:spPr>
          <a:xfrm>
            <a:off x="704088" y="2702547"/>
            <a:ext cx="10499532" cy="2086310"/>
          </a:xfrm>
          <a:prstGeom prst="rect">
            <a:avLst/>
          </a:prstGeom>
        </p:spPr>
        <p:txBody>
          <a:bodyPr anchor="b"/>
          <a:lstStyle>
            <a:lvl1pPr marL="0" indent="0" algn="l">
              <a:lnSpc>
                <a:spcPct val="100000"/>
              </a:lnSpc>
              <a:spcBef>
                <a:spcPts val="0"/>
              </a:spcBef>
              <a:buNone/>
              <a:defRPr sz="4800">
                <a:solidFill>
                  <a:schemeClr val="bg2"/>
                </a:solidFill>
                <a:latin typeface="+mn-lt"/>
              </a:defRPr>
            </a:lvl1pPr>
          </a:lstStyle>
          <a:p>
            <a:pPr lvl="0"/>
            <a:r>
              <a:rPr lang="en-US" dirty="0" smtClean="0"/>
              <a:t>Section title</a:t>
            </a:r>
            <a:endParaRPr lang="ru-RU" dirty="0"/>
          </a:p>
        </p:txBody>
      </p:sp>
      <p:sp>
        <p:nvSpPr>
          <p:cNvPr id="2" name="Rectangle 1"/>
          <p:cNvSpPr/>
          <p:nvPr userDrawn="1"/>
        </p:nvSpPr>
        <p:spPr>
          <a:xfrm>
            <a:off x="704087" y="6085188"/>
            <a:ext cx="4117794" cy="369332"/>
          </a:xfrm>
          <a:prstGeom prst="rect">
            <a:avLst/>
          </a:prstGeom>
        </p:spPr>
        <p:txBody>
          <a:bodyPr wrap="none">
            <a:spAutoFit/>
          </a:bodyPr>
          <a:lstStyle/>
          <a:p>
            <a:r>
              <a:rPr lang="en-US" dirty="0" smtClean="0">
                <a:solidFill>
                  <a:schemeClr val="tx2">
                    <a:lumMod val="40000"/>
                    <a:lumOff val="60000"/>
                  </a:schemeClr>
                </a:solidFill>
              </a:rPr>
              <a:t>Microsoft Developer Tour #</a:t>
            </a:r>
            <a:r>
              <a:rPr lang="en-US" dirty="0" err="1" smtClean="0">
                <a:solidFill>
                  <a:schemeClr val="tx2">
                    <a:lumMod val="40000"/>
                    <a:lumOff val="60000"/>
                  </a:schemeClr>
                </a:solidFill>
              </a:rPr>
              <a:t>MSDevTour</a:t>
            </a:r>
            <a:endParaRPr lang="ru-RU" dirty="0">
              <a:solidFill>
                <a:schemeClr val="tx2">
                  <a:lumMod val="40000"/>
                  <a:lumOff val="60000"/>
                </a:schemeClr>
              </a:solidFill>
            </a:endParaRPr>
          </a:p>
        </p:txBody>
      </p:sp>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l="54921" t="39840" r="27256" b="31164"/>
          <a:stretch/>
        </p:blipFill>
        <p:spPr>
          <a:xfrm>
            <a:off x="10963776" y="5649707"/>
            <a:ext cx="702906" cy="765110"/>
          </a:xfrm>
          <a:prstGeom prst="rect">
            <a:avLst/>
          </a:prstGeom>
        </p:spPr>
      </p:pic>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78265" t="74966" r="3912" b="-3962"/>
          <a:stretch/>
        </p:blipFill>
        <p:spPr>
          <a:xfrm>
            <a:off x="704087" y="450880"/>
            <a:ext cx="702906" cy="765110"/>
          </a:xfrm>
          <a:prstGeom prst="rect">
            <a:avLst/>
          </a:prstGeom>
        </p:spPr>
      </p:pic>
    </p:spTree>
    <p:extLst>
      <p:ext uri="{BB962C8B-B14F-4D97-AF65-F5344CB8AC3E}">
        <p14:creationId xmlns:p14="http://schemas.microsoft.com/office/powerpoint/2010/main" val="1211769298"/>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rgbClr val="000000"/>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gradFill flip="none" rotWithShape="1">
            <a:gsLst>
              <a:gs pos="100000">
                <a:srgbClr val="000000"/>
              </a:gs>
              <a:gs pos="0">
                <a:srgbClr val="000000">
                  <a:lumMod val="100000"/>
                  <a:alpha val="5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endParaRPr>
          </a:p>
        </p:txBody>
      </p:sp>
      <p:sp>
        <p:nvSpPr>
          <p:cNvPr id="2" name="Title 1"/>
          <p:cNvSpPr>
            <a:spLocks noGrp="1"/>
          </p:cNvSpPr>
          <p:nvPr>
            <p:ph type="ctrTitle"/>
          </p:nvPr>
        </p:nvSpPr>
        <p:spPr>
          <a:xfrm>
            <a:off x="606175" y="1534345"/>
            <a:ext cx="11034445" cy="1007888"/>
          </a:xfrm>
        </p:spPr>
        <p:txBody>
          <a:bodyPr anchor="b"/>
          <a:lstStyle>
            <a:lvl1pPr algn="l">
              <a:defRPr sz="6000">
                <a:solidFill>
                  <a:schemeClr val="bg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2853732"/>
            <a:ext cx="11034445" cy="2404068"/>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147564510"/>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5" y="2243915"/>
            <a:ext cx="11034445" cy="2387600"/>
          </a:xfrm>
        </p:spPr>
        <p:txBody>
          <a:bodyPr anchor="ctr">
            <a:noAutofit/>
          </a:bodyPr>
          <a:lstStyle>
            <a:lvl1pPr algn="l">
              <a:lnSpc>
                <a:spcPct val="100000"/>
              </a:lnSpc>
              <a:defRPr sz="16600">
                <a:solidFill>
                  <a:schemeClr val="bg1"/>
                </a:solidFill>
              </a:defRPr>
            </a:lvl1pPr>
          </a:lstStyle>
          <a:p>
            <a:r>
              <a:rPr lang="en-US" dirty="0" smtClean="0"/>
              <a:t>subject</a:t>
            </a:r>
            <a:endParaRPr lang="en-US" dirty="0"/>
          </a:p>
        </p:txBody>
      </p:sp>
    </p:spTree>
    <p:extLst>
      <p:ext uri="{BB962C8B-B14F-4D97-AF65-F5344CB8AC3E}">
        <p14:creationId xmlns:p14="http://schemas.microsoft.com/office/powerpoint/2010/main" val="4130426226"/>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pPr>
              <a:defRPr/>
            </a:pPr>
            <a:fld id="{0A164282-434E-41D4-9582-783D542A7B68}" type="slidenum">
              <a:rPr lang="en-US" smtClean="0"/>
              <a:pPr>
                <a:defRPr/>
              </a:pPr>
              <a:t>‹#›</a:t>
            </a:fld>
            <a:endParaRPr lang="en-US"/>
          </a:p>
        </p:txBody>
      </p:sp>
    </p:spTree>
    <p:extLst>
      <p:ext uri="{BB962C8B-B14F-4D97-AF65-F5344CB8AC3E}">
        <p14:creationId xmlns:p14="http://schemas.microsoft.com/office/powerpoint/2010/main" val="2288274302"/>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pPr>
              <a:defRPr/>
            </a:pPr>
            <a:fld id="{0A164282-434E-41D4-9582-783D542A7B68}" type="slidenum">
              <a:rPr lang="en-US" smtClean="0"/>
              <a:pPr>
                <a:defRPr/>
              </a:pPr>
              <a:t>‹#›</a:t>
            </a:fld>
            <a:endParaRPr lang="en-US"/>
          </a:p>
        </p:txBody>
      </p:sp>
    </p:spTree>
    <p:extLst>
      <p:ext uri="{BB962C8B-B14F-4D97-AF65-F5344CB8AC3E}">
        <p14:creationId xmlns:p14="http://schemas.microsoft.com/office/powerpoint/2010/main" val="1128485242"/>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pPr>
              <a:defRPr/>
            </a:pPr>
            <a:fld id="{0A164282-434E-41D4-9582-783D542A7B68}" type="slidenum">
              <a:rPr lang="en-US" smtClean="0"/>
              <a:pPr>
                <a:defRPr/>
              </a:pPr>
              <a:t>‹#›</a:t>
            </a:fld>
            <a:endParaRPr lang="en-US"/>
          </a:p>
        </p:txBody>
      </p:sp>
    </p:spTree>
    <p:extLst>
      <p:ext uri="{BB962C8B-B14F-4D97-AF65-F5344CB8AC3E}">
        <p14:creationId xmlns:p14="http://schemas.microsoft.com/office/powerpoint/2010/main" val="2967254321"/>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0545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endParaRPr>
          </a:p>
        </p:txBody>
      </p:sp>
    </p:spTree>
    <p:extLst>
      <p:ext uri="{BB962C8B-B14F-4D97-AF65-F5344CB8AC3E}">
        <p14:creationId xmlns:p14="http://schemas.microsoft.com/office/powerpoint/2010/main" val="2919401051"/>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endParaRPr>
          </a:p>
        </p:txBody>
      </p:sp>
    </p:spTree>
    <p:extLst>
      <p:ext uri="{BB962C8B-B14F-4D97-AF65-F5344CB8AC3E}">
        <p14:creationId xmlns:p14="http://schemas.microsoft.com/office/powerpoint/2010/main" val="1089183975"/>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defRPr/>
            </a:pPr>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924" eaLnBrk="0" hangingPunct="0">
              <a:defRPr/>
            </a:pPr>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2095890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22795047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Section">
    <p:bg>
      <p:bgPr>
        <a:solidFill>
          <a:schemeClr val="accent4">
            <a:lumMod val="75000"/>
          </a:schemeClr>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5" hasCustomPrompt="1"/>
          </p:nvPr>
        </p:nvSpPr>
        <p:spPr>
          <a:xfrm>
            <a:off x="704088" y="4807209"/>
            <a:ext cx="10508408" cy="785722"/>
          </a:xfrm>
          <a:prstGeom prst="rect">
            <a:avLst/>
          </a:prstGeom>
        </p:spPr>
        <p:txBody>
          <a:bodyPr/>
          <a:lstStyle>
            <a:lvl1pPr marL="0" indent="0" algn="l">
              <a:lnSpc>
                <a:spcPct val="100000"/>
              </a:lnSpc>
              <a:spcBef>
                <a:spcPts val="0"/>
              </a:spcBef>
              <a:buNone/>
              <a:defRPr sz="2400">
                <a:solidFill>
                  <a:schemeClr val="accent4">
                    <a:lumMod val="20000"/>
                    <a:lumOff val="80000"/>
                  </a:schemeClr>
                </a:solidFill>
                <a:latin typeface="+mj-lt"/>
              </a:defRPr>
            </a:lvl1pPr>
          </a:lstStyle>
          <a:p>
            <a:pPr lvl="0"/>
            <a:r>
              <a:rPr lang="en-US" dirty="0" smtClean="0"/>
              <a:t>SUBTITLE</a:t>
            </a:r>
            <a:endParaRPr lang="ru-RU" dirty="0"/>
          </a:p>
        </p:txBody>
      </p:sp>
      <p:sp>
        <p:nvSpPr>
          <p:cNvPr id="2" name="Rectangle 1"/>
          <p:cNvSpPr/>
          <p:nvPr userDrawn="1"/>
        </p:nvSpPr>
        <p:spPr>
          <a:xfrm>
            <a:off x="704088" y="6085188"/>
            <a:ext cx="4117794" cy="369332"/>
          </a:xfrm>
          <a:prstGeom prst="rect">
            <a:avLst/>
          </a:prstGeom>
        </p:spPr>
        <p:txBody>
          <a:bodyPr wrap="none">
            <a:spAutoFit/>
          </a:bodyPr>
          <a:lstStyle/>
          <a:p>
            <a:r>
              <a:rPr lang="en-US" dirty="0" smtClean="0">
                <a:solidFill>
                  <a:schemeClr val="accent4"/>
                </a:solidFill>
              </a:rPr>
              <a:t>Microsoft Developer Tour #</a:t>
            </a:r>
            <a:r>
              <a:rPr lang="en-US" dirty="0" err="1" smtClean="0">
                <a:solidFill>
                  <a:schemeClr val="accent4"/>
                </a:solidFill>
              </a:rPr>
              <a:t>MSDevTour</a:t>
            </a:r>
            <a:endParaRPr lang="ru-RU" dirty="0">
              <a:solidFill>
                <a:schemeClr val="accent4"/>
              </a:solidFill>
            </a:endParaRPr>
          </a:p>
        </p:txBody>
      </p:sp>
      <p:sp>
        <p:nvSpPr>
          <p:cNvPr id="4" name="TextBox 3"/>
          <p:cNvSpPr txBox="1"/>
          <p:nvPr userDrawn="1"/>
        </p:nvSpPr>
        <p:spPr>
          <a:xfrm>
            <a:off x="679165" y="3917209"/>
            <a:ext cx="1944763" cy="830997"/>
          </a:xfrm>
          <a:prstGeom prst="rect">
            <a:avLst/>
          </a:prstGeom>
          <a:noFill/>
        </p:spPr>
        <p:txBody>
          <a:bodyPr wrap="none" rtlCol="0">
            <a:spAutoFit/>
          </a:bodyPr>
          <a:lstStyle/>
          <a:p>
            <a:r>
              <a:rPr lang="en-US" sz="4800" dirty="0" smtClean="0">
                <a:solidFill>
                  <a:schemeClr val="accent4">
                    <a:lumMod val="20000"/>
                    <a:lumOff val="80000"/>
                  </a:schemeClr>
                </a:solidFill>
              </a:rPr>
              <a:t>DEMO</a:t>
            </a:r>
            <a:endParaRPr lang="ru-RU" sz="4800" dirty="0">
              <a:solidFill>
                <a:schemeClr val="accent4">
                  <a:lumMod val="20000"/>
                  <a:lumOff val="80000"/>
                </a:schemeClr>
              </a:solidFill>
            </a:endParaRPr>
          </a:p>
        </p:txBody>
      </p:sp>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l="3502" t="4479" r="74574" b="66525"/>
          <a:stretch/>
        </p:blipFill>
        <p:spPr>
          <a:xfrm>
            <a:off x="2687217" y="3983096"/>
            <a:ext cx="864638" cy="765110"/>
          </a:xfrm>
          <a:prstGeom prst="rect">
            <a:avLst/>
          </a:prstGeom>
        </p:spPr>
      </p:pic>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45316" t="70705" r="23709" b="299"/>
          <a:stretch/>
        </p:blipFill>
        <p:spPr>
          <a:xfrm>
            <a:off x="10343213" y="439969"/>
            <a:ext cx="1221598" cy="765110"/>
          </a:xfrm>
          <a:prstGeom prst="rect">
            <a:avLst/>
          </a:prstGeom>
        </p:spPr>
      </p:pic>
    </p:spTree>
    <p:extLst>
      <p:ext uri="{BB962C8B-B14F-4D97-AF65-F5344CB8AC3E}">
        <p14:creationId xmlns:p14="http://schemas.microsoft.com/office/powerpoint/2010/main" val="111807889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947060650"/>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474417443"/>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ctrTitle" hasCustomPrompt="1"/>
          </p:nvPr>
        </p:nvSpPr>
        <p:spPr>
          <a:xfrm>
            <a:off x="606175" y="2235200"/>
            <a:ext cx="11034445" cy="2387600"/>
          </a:xfrm>
        </p:spPr>
        <p:txBody>
          <a:bodyPr anchor="b">
            <a:normAutofit/>
          </a:bodyPr>
          <a:lstStyle>
            <a:lvl1pPr algn="l">
              <a:defRPr sz="13800"/>
            </a:lvl1pPr>
          </a:lstStyle>
          <a:p>
            <a:r>
              <a:rPr lang="en-US" dirty="0" smtClean="0"/>
              <a:t>Video</a:t>
            </a:r>
            <a:endParaRPr lang="en-US" dirty="0"/>
          </a:p>
        </p:txBody>
      </p:sp>
    </p:spTree>
    <p:extLst>
      <p:ext uri="{BB962C8B-B14F-4D97-AF65-F5344CB8AC3E}">
        <p14:creationId xmlns:p14="http://schemas.microsoft.com/office/powerpoint/2010/main" val="2988587365"/>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534345"/>
            <a:ext cx="11034445" cy="1007888"/>
          </a:xfrm>
        </p:spPr>
        <p:txBody>
          <a:bodyPr anchor="b"/>
          <a:lstStyle>
            <a:lvl1pPr algn="l">
              <a:defRPr sz="6000">
                <a:solidFill>
                  <a:schemeClr val="bg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2853732"/>
            <a:ext cx="11034445" cy="2404068"/>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315328463"/>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5" y="2816939"/>
            <a:ext cx="11034445" cy="2387600"/>
          </a:xfrm>
        </p:spPr>
        <p:txBody>
          <a:bodyPr anchor="b">
            <a:noAutofit/>
          </a:bodyPr>
          <a:lstStyle>
            <a:lvl1pPr algn="l">
              <a:defRPr sz="23900">
                <a:solidFill>
                  <a:schemeClr val="bg1"/>
                </a:solidFill>
              </a:defRPr>
            </a:lvl1pPr>
          </a:lstStyle>
          <a:p>
            <a:r>
              <a:rPr lang="en-US" dirty="0" smtClean="0"/>
              <a:t>web</a:t>
            </a:r>
            <a:endParaRPr lang="en-US" dirty="0"/>
          </a:p>
        </p:txBody>
      </p:sp>
    </p:spTree>
    <p:extLst>
      <p:ext uri="{BB962C8B-B14F-4D97-AF65-F5344CB8AC3E}">
        <p14:creationId xmlns:p14="http://schemas.microsoft.com/office/powerpoint/2010/main" val="1221860299"/>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3234867939"/>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496816152"/>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1342689717"/>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936887169"/>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555583653"/>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3259613"/>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03450374"/>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3750953862"/>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2201414680"/>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1_Title Slide 3">
    <p:bg>
      <p:bgPr>
        <a:solidFill>
          <a:srgbClr val="002060"/>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122602" y="193594"/>
            <a:ext cx="9860610" cy="720807"/>
          </a:xfrm>
          <a:noFill/>
        </p:spPr>
        <p:txBody>
          <a:bodyPr lIns="143407" tIns="89629" rIns="143407" bIns="89629" anchor="t" anchorCtr="0">
            <a:normAutofit/>
          </a:bodyPr>
          <a:lstStyle>
            <a:lvl1pPr>
              <a:defRPr sz="4000" spc="-98" baseline="0">
                <a:solidFill>
                  <a:srgbClr val="00B0F0"/>
                </a:solidFill>
              </a:defRPr>
            </a:lvl1pPr>
          </a:lstStyle>
          <a:p>
            <a:r>
              <a:rPr lang="en-US" dirty="0" smtClean="0"/>
              <a:t>Presentation title</a:t>
            </a:r>
            <a:endParaRPr lang="en-US" dirty="0"/>
          </a:p>
        </p:txBody>
      </p:sp>
    </p:spTree>
    <p:extLst>
      <p:ext uri="{BB962C8B-B14F-4D97-AF65-F5344CB8AC3E}">
        <p14:creationId xmlns:p14="http://schemas.microsoft.com/office/powerpoint/2010/main" val="24713987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itle Slide_Color  2">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269239" y="5670380"/>
            <a:ext cx="11653523" cy="896552"/>
          </a:xfrm>
        </p:spPr>
        <p:txBody>
          <a:bodyPr lIns="182880" tIns="146304" rIns="182880" bIns="146304" anchor="b">
            <a:noAutofit/>
          </a:bodyPr>
          <a:lstStyle>
            <a:lvl1pPr>
              <a:defRPr sz="1961" baseline="0">
                <a:latin typeface="+mn-lt"/>
              </a:defRPr>
            </a:lvl1pPr>
          </a:lstStyle>
          <a:p>
            <a:pPr lvl="0"/>
            <a:r>
              <a:rPr lang="en-US" dirty="0" smtClean="0"/>
              <a:t>Click to edit Master text styles</a:t>
            </a:r>
            <a:endParaRPr lang="en-US" dirty="0"/>
          </a:p>
        </p:txBody>
      </p:sp>
      <p:sp>
        <p:nvSpPr>
          <p:cNvPr id="2" name="Title 1"/>
          <p:cNvSpPr>
            <a:spLocks noGrp="1"/>
          </p:cNvSpPr>
          <p:nvPr>
            <p:ph type="title"/>
          </p:nvPr>
        </p:nvSpPr>
        <p:spPr>
          <a:xfrm>
            <a:off x="269239" y="2084173"/>
            <a:ext cx="11653522" cy="894996"/>
          </a:xfrm>
        </p:spPr>
        <p:txBody>
          <a:bodyPr/>
          <a:lstStyle>
            <a:lvl1pPr>
              <a:defRPr sz="5294"/>
            </a:lvl1pPr>
          </a:lstStyle>
          <a:p>
            <a:r>
              <a:rPr lang="en-US" dirty="0" smtClean="0"/>
              <a:t>Click to edit Master title style</a:t>
            </a:r>
            <a:endParaRPr lang="en-US" dirty="0"/>
          </a:p>
        </p:txBody>
      </p:sp>
    </p:spTree>
    <p:extLst>
      <p:ext uri="{BB962C8B-B14F-4D97-AF65-F5344CB8AC3E}">
        <p14:creationId xmlns:p14="http://schemas.microsoft.com/office/powerpoint/2010/main" val="537692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4451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cSld name="3_Blank">
    <p:spTree>
      <p:nvGrpSpPr>
        <p:cNvPr id="1" name=""/>
        <p:cNvGrpSpPr/>
        <p:nvPr/>
      </p:nvGrpSpPr>
      <p:grpSpPr>
        <a:xfrm>
          <a:off x="0" y="0"/>
          <a:ext cx="0" cy="0"/>
          <a:chOff x="0" y="0"/>
          <a:chExt cx="0" cy="0"/>
        </a:xfrm>
      </p:grpSpPr>
      <p:sp>
        <p:nvSpPr>
          <p:cNvPr id="6" name="Text Placeholder 23"/>
          <p:cNvSpPr>
            <a:spLocks noGrp="1"/>
          </p:cNvSpPr>
          <p:nvPr>
            <p:ph type="body" sz="quarter" idx="14" hasCustomPrompt="1"/>
          </p:nvPr>
        </p:nvSpPr>
        <p:spPr>
          <a:xfrm>
            <a:off x="11430000" y="6464369"/>
            <a:ext cx="762000" cy="406265"/>
          </a:xfrm>
          <a:prstGeom prst="rect">
            <a:avLst/>
          </a:prstGeom>
        </p:spPr>
        <p:txBody>
          <a:bodyPr anchor="ctr"/>
          <a:lstStyle>
            <a:lvl1pPr marL="0" indent="0" algn="r">
              <a:buNone/>
              <a:defRPr sz="800">
                <a:solidFill>
                  <a:schemeClr val="tx1"/>
                </a:solidFill>
              </a:defRPr>
            </a:lvl1pPr>
          </a:lstStyle>
          <a:p>
            <a:fld id="{13C7C2A1-6219-4FFB-8871-7AF0864EFB3F}" type="slidenum">
              <a:rPr lang="en-US" smtClean="0"/>
              <a:t>‹#›</a:t>
            </a:fld>
            <a:endParaRPr lang="en-US" dirty="0"/>
          </a:p>
        </p:txBody>
      </p:sp>
      <p:sp>
        <p:nvSpPr>
          <p:cNvPr id="2" name="Footer Placeholder 1"/>
          <p:cNvSpPr>
            <a:spLocks noGrp="1"/>
          </p:cNvSpPr>
          <p:nvPr>
            <p:ph type="ftr" sz="quarter" idx="15"/>
          </p:nvPr>
        </p:nvSpPr>
        <p:spPr>
          <a:xfrm>
            <a:off x="3048000" y="6477873"/>
            <a:ext cx="8381999" cy="380127"/>
          </a:xfrm>
          <a:prstGeom prst="rect">
            <a:avLst/>
          </a:prstGeom>
        </p:spPr>
        <p:txBody>
          <a:bodyPr/>
          <a:lstStyle/>
          <a:p>
            <a:pPr defTabSz="914133"/>
            <a:endParaRPr lang="en-US" dirty="0">
              <a:solidFill>
                <a:srgbClr val="505050"/>
              </a:solidFill>
            </a:endParaRPr>
          </a:p>
        </p:txBody>
      </p:sp>
      <p:sp>
        <p:nvSpPr>
          <p:cNvPr id="3" name="Slide Number Placeholder 2"/>
          <p:cNvSpPr>
            <a:spLocks noGrp="1"/>
          </p:cNvSpPr>
          <p:nvPr>
            <p:ph type="sldNum" sz="quarter" idx="16"/>
          </p:nvPr>
        </p:nvSpPr>
        <p:spPr>
          <a:xfrm>
            <a:off x="11430002" y="6477875"/>
            <a:ext cx="761998" cy="380126"/>
          </a:xfrm>
          <a:prstGeom prst="rect">
            <a:avLst/>
          </a:prstGeom>
        </p:spPr>
        <p:txBody>
          <a:bodyPr/>
          <a:lstStyle/>
          <a:p>
            <a:pPr defTabSz="914133"/>
            <a:fld id="{FAADACFB-7C71-4E89-89D2-7BBA40B7BFA9}" type="slidenum">
              <a:rPr lang="en-US" smtClean="0">
                <a:solidFill>
                  <a:srgbClr val="505050"/>
                </a:solidFill>
              </a:rPr>
              <a:pPr defTabSz="914133"/>
              <a:t>‹#›</a:t>
            </a:fld>
            <a:endParaRPr lang="en-US" dirty="0">
              <a:solidFill>
                <a:srgbClr val="505050"/>
              </a:solidFill>
            </a:endParaRPr>
          </a:p>
        </p:txBody>
      </p:sp>
    </p:spTree>
    <p:extLst>
      <p:ext uri="{BB962C8B-B14F-4D97-AF65-F5344CB8AC3E}">
        <p14:creationId xmlns:p14="http://schemas.microsoft.com/office/powerpoint/2010/main" val="2838239075"/>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8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05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1" y="192025"/>
            <a:ext cx="12192000" cy="646042"/>
          </a:xfrm>
        </p:spPr>
        <p:txBody>
          <a:bodyPr>
            <a:noAutofit/>
          </a:bodyPr>
          <a:lstStyle>
            <a:lvl1pPr>
              <a:defRPr/>
            </a:lvl1pPr>
          </a:lstStyle>
          <a:p>
            <a:endParaRPr lang="en-US" dirty="0"/>
          </a:p>
        </p:txBody>
      </p:sp>
      <p:sp>
        <p:nvSpPr>
          <p:cNvPr id="6" name="Text Placeholder 5"/>
          <p:cNvSpPr>
            <a:spLocks noGrp="1"/>
          </p:cNvSpPr>
          <p:nvPr>
            <p:ph type="body" sz="quarter" idx="13" hasCustomPrompt="1"/>
            <p:custDataLst>
              <p:tags r:id="rId4"/>
            </p:custDataLst>
          </p:nvPr>
        </p:nvSpPr>
        <p:spPr>
          <a:xfrm>
            <a:off x="1" y="832105"/>
            <a:ext cx="12192000" cy="373063"/>
          </a:xfrm>
          <a:prstGeom prst="rect">
            <a:avLst/>
          </a:prstGeom>
        </p:spPr>
        <p:txBody>
          <a:bodyPr lIns="380851" tIns="53319" rIns="53319" bIns="53319">
            <a:noAutofit/>
          </a:bodyPr>
          <a:lstStyle>
            <a:lvl1pPr marL="0" indent="0">
              <a:buNone/>
              <a:defRPr sz="2799">
                <a:latin typeface="Segoe UI Light" pitchFamily="34" charset="0"/>
              </a:defRPr>
            </a:lvl1pPr>
            <a:lvl2pPr marL="281532" indent="0">
              <a:buNone/>
              <a:defRPr/>
            </a:lvl2pPr>
            <a:lvl3pPr marL="588178" indent="0">
              <a:buNone/>
              <a:defRPr/>
            </a:lvl3pPr>
            <a:lvl4pPr marL="869708" indent="0">
              <a:buNone/>
              <a:defRPr/>
            </a:lvl4pPr>
            <a:lvl5pPr marL="1104979" indent="0">
              <a:buNone/>
              <a:defRPr/>
            </a:lvl5pPr>
          </a:lstStyle>
          <a:p>
            <a:pPr lvl="0"/>
            <a:r>
              <a:rPr lang="en-US" dirty="0" smtClean="0"/>
              <a:t>Click to add subtitle</a:t>
            </a:r>
          </a:p>
        </p:txBody>
      </p:sp>
    </p:spTree>
    <p:extLst>
      <p:ext uri="{BB962C8B-B14F-4D97-AF65-F5344CB8AC3E}">
        <p14:creationId xmlns:p14="http://schemas.microsoft.com/office/powerpoint/2010/main" val="3650387635"/>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cSld name="Title &amp; Only">
    <p:spTree>
      <p:nvGrpSpPr>
        <p:cNvPr id="1" name=""/>
        <p:cNvGrpSpPr/>
        <p:nvPr/>
      </p:nvGrpSpPr>
      <p:grpSpPr>
        <a:xfrm>
          <a:off x="0" y="0"/>
          <a:ext cx="0" cy="0"/>
          <a:chOff x="0" y="0"/>
          <a:chExt cx="0" cy="0"/>
        </a:xfrm>
      </p:grpSpPr>
      <p:sp>
        <p:nvSpPr>
          <p:cNvPr id="9" name="Text Placeholder 8"/>
          <p:cNvSpPr>
            <a:spLocks noGrp="1"/>
          </p:cNvSpPr>
          <p:nvPr>
            <p:ph type="body" sz="quarter" idx="15"/>
          </p:nvPr>
        </p:nvSpPr>
        <p:spPr>
          <a:xfrm>
            <a:off x="266127" y="291070"/>
            <a:ext cx="11645817" cy="836523"/>
          </a:xfrm>
        </p:spPr>
        <p:txBody>
          <a:bodyPr vert="horz" wrap="square" lIns="149226" tIns="93266" rIns="149226" bIns="93266" rtlCol="0" anchor="t" anchorCtr="0">
            <a:spAutoFit/>
          </a:bodyPr>
          <a:lstStyle>
            <a:lvl1pPr>
              <a:lnSpc>
                <a:spcPct val="80000"/>
              </a:lnSpc>
              <a:spcAft>
                <a:spcPts val="0"/>
              </a:spcAft>
              <a:defRPr lang="en-US" sz="4706" spc="-100" dirty="0" smtClean="0">
                <a:solidFill>
                  <a:schemeClr val="tx1">
                    <a:lumMod val="65000"/>
                    <a:lumOff val="35000"/>
                  </a:schemeClr>
                </a:solidFill>
                <a:latin typeface="Segoe UI Light" pitchFamily="34" charset="0"/>
                <a:ea typeface="+mj-ea"/>
                <a:cs typeface="+mj-cs"/>
              </a:defRPr>
            </a:lvl1pPr>
          </a:lstStyle>
          <a:p>
            <a:pPr lvl="0" defTabSz="1218127">
              <a:lnSpc>
                <a:spcPct val="90000"/>
              </a:lnSpc>
              <a:spcBef>
                <a:spcPct val="0"/>
              </a:spcBef>
            </a:pPr>
            <a:r>
              <a:rPr lang="en-US" dirty="0" smtClean="0"/>
              <a:t>Click to edit Master text styles</a:t>
            </a:r>
          </a:p>
        </p:txBody>
      </p:sp>
    </p:spTree>
    <p:extLst>
      <p:ext uri="{BB962C8B-B14F-4D97-AF65-F5344CB8AC3E}">
        <p14:creationId xmlns:p14="http://schemas.microsoft.com/office/powerpoint/2010/main" val="1183186533"/>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5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088" y="-1"/>
            <a:ext cx="12192000" cy="6858973"/>
          </a:xfrm>
          <a:prstGeom prst="rect">
            <a:avLst/>
          </a:prstGeom>
        </p:spPr>
      </p:pic>
      <p:pic>
        <p:nvPicPr>
          <p:cNvPr id="14" name="Picture 13" descr="DataInsights-iStock_000022453217Large.jpg"/>
          <p:cNvPicPr>
            <a:picLocks noChangeAspect="1"/>
          </p:cNvPicPr>
          <p:nvPr userDrawn="1"/>
        </p:nvPicPr>
        <p:blipFill rotWithShape="1">
          <a:blip r:embed="rId3" cstate="print">
            <a:alphaModFix/>
            <a:extLst>
              <a:ext uri="{28A0092B-C50C-407E-A947-70E740481C1C}">
                <a14:useLocalDpi xmlns:a14="http://schemas.microsoft.com/office/drawing/2010/main" val="0"/>
              </a:ext>
            </a:extLst>
          </a:blip>
          <a:srcRect/>
          <a:stretch/>
        </p:blipFill>
        <p:spPr>
          <a:xfrm>
            <a:off x="7998438" y="2302198"/>
            <a:ext cx="2757245" cy="2751705"/>
          </a:xfrm>
          <a:prstGeom prst="rect">
            <a:avLst/>
          </a:prstGeom>
        </p:spPr>
      </p:pic>
      <p:sp>
        <p:nvSpPr>
          <p:cNvPr id="12" name="Rectangle 11"/>
          <p:cNvSpPr/>
          <p:nvPr userDrawn="1"/>
        </p:nvSpPr>
        <p:spPr bwMode="auto">
          <a:xfrm>
            <a:off x="0" y="1"/>
            <a:ext cx="6053737" cy="6869648"/>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anchor="ctr"/>
          <a:lstStyle/>
          <a:p>
            <a:pPr algn="ctr" defTabSz="914102">
              <a:defRPr/>
            </a:pPr>
            <a:endParaRPr lang="en-US" sz="1961" dirty="0">
              <a:gradFill>
                <a:gsLst>
                  <a:gs pos="0">
                    <a:srgbClr val="FFFFFF"/>
                  </a:gs>
                  <a:gs pos="100000">
                    <a:srgbClr val="FFFFFF"/>
                  </a:gs>
                </a:gsLst>
                <a:lin ang="5400000" scaled="0"/>
              </a:gradFill>
            </a:endParaRPr>
          </a:p>
        </p:txBody>
      </p:sp>
      <p:pic>
        <p:nvPicPr>
          <p:cNvPr id="15" name="Picture 8"/>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63776" y="470067"/>
            <a:ext cx="1304174" cy="2863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6" name="Title 1"/>
          <p:cNvSpPr>
            <a:spLocks noGrp="1"/>
          </p:cNvSpPr>
          <p:nvPr>
            <p:ph type="ctrTitle"/>
          </p:nvPr>
        </p:nvSpPr>
        <p:spPr>
          <a:xfrm>
            <a:off x="269240" y="1428401"/>
            <a:ext cx="5487085" cy="897667"/>
          </a:xfrm>
        </p:spPr>
        <p:txBody>
          <a:bodyPr/>
          <a:lstStyle>
            <a:lvl1pPr>
              <a:defRPr sz="5098">
                <a:solidFill>
                  <a:schemeClr val="bg1"/>
                </a:solidFill>
              </a:defRPr>
            </a:lvl1pPr>
          </a:lstStyle>
          <a:p>
            <a:r>
              <a:rPr lang="en-US" smtClean="0"/>
              <a:t>Click to edit Master title style</a:t>
            </a:r>
            <a:endParaRPr lang="en-US" dirty="0"/>
          </a:p>
        </p:txBody>
      </p:sp>
      <p:sp>
        <p:nvSpPr>
          <p:cNvPr id="17" name="Subtitle 2"/>
          <p:cNvSpPr>
            <a:spLocks noGrp="1"/>
          </p:cNvSpPr>
          <p:nvPr>
            <p:ph type="subTitle" idx="1"/>
          </p:nvPr>
        </p:nvSpPr>
        <p:spPr>
          <a:xfrm>
            <a:off x="269302" y="4353453"/>
            <a:ext cx="5487022" cy="1055663"/>
          </a:xfrm>
        </p:spPr>
        <p:txBody>
          <a:bodyPr/>
          <a:lstStyle>
            <a:lvl1pPr marL="0" indent="0" algn="l">
              <a:lnSpc>
                <a:spcPts val="2647"/>
              </a:lnSpc>
              <a:buNone/>
              <a:defRPr sz="2157">
                <a:solidFill>
                  <a:schemeClr val="bg1"/>
                </a:solidFill>
                <a:latin typeface="+mj-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smtClean="0"/>
              <a:t>Click to edit Master subtitle style</a:t>
            </a:r>
            <a:endParaRPr lang="en-US" dirty="0" smtClean="0"/>
          </a:p>
        </p:txBody>
      </p:sp>
    </p:spTree>
    <p:extLst>
      <p:ext uri="{BB962C8B-B14F-4D97-AF65-F5344CB8AC3E}">
        <p14:creationId xmlns:p14="http://schemas.microsoft.com/office/powerpoint/2010/main" val="2818429468"/>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 Accent">
    <p:bg>
      <p:bgPr>
        <a:solidFill>
          <a:schemeClr val="tx2">
            <a:lumMod val="7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949022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5" y="1178350"/>
            <a:ext cx="9860672" cy="899665"/>
          </a:xfrm>
        </p:spPr>
        <p:txBody>
          <a:bodyPr/>
          <a:lstStyle>
            <a:lvl1pPr marL="228719" indent="-228719">
              <a:defRPr sz="5881"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3983412941"/>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smtClean="0"/>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smtClean="0"/>
              <a:t>Click to add subtitle</a:t>
            </a:r>
          </a:p>
        </p:txBody>
      </p:sp>
      <p:sp>
        <p:nvSpPr>
          <p:cNvPr id="16" name="Text Placeholder 15"/>
          <p:cNvSpPr>
            <a:spLocks noGrp="1"/>
          </p:cNvSpPr>
          <p:nvPr>
            <p:ph type="body" sz="quarter" idx="14"/>
          </p:nvPr>
        </p:nvSpPr>
        <p:spPr>
          <a:xfrm>
            <a:off x="150853" y="1600200"/>
            <a:ext cx="11890296" cy="45770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pPr/>
              <a:t>‹#›</a:t>
            </a:fld>
            <a:endParaRPr lang="en-US" dirty="0"/>
          </a:p>
        </p:txBody>
      </p:sp>
      <p:sp>
        <p:nvSpPr>
          <p:cNvPr id="20" name="Footer Placeholder 19"/>
          <p:cNvSpPr>
            <a:spLocks noGrp="1"/>
          </p:cNvSpPr>
          <p:nvPr>
            <p:ph type="ftr" sz="quarter" idx="16"/>
          </p:nvPr>
        </p:nvSpPr>
        <p:spPr/>
        <p:txBody>
          <a:bodyPr/>
          <a:lstStyle/>
          <a:p>
            <a:endParaRPr lang="en-US" dirty="0">
              <a:solidFill>
                <a:srgbClr val="00B0F0"/>
              </a:solidFill>
            </a:endParaRPr>
          </a:p>
        </p:txBody>
      </p:sp>
    </p:spTree>
    <p:extLst>
      <p:ext uri="{BB962C8B-B14F-4D97-AF65-F5344CB8AC3E}">
        <p14:creationId xmlns:p14="http://schemas.microsoft.com/office/powerpoint/2010/main" val="3060343471"/>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smtClean="0"/>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smtClean="0"/>
              <a:t>Click to add subtitle</a:t>
            </a:r>
          </a:p>
        </p:txBody>
      </p:sp>
      <p:sp>
        <p:nvSpPr>
          <p:cNvPr id="16" name="Text Placeholder 15"/>
          <p:cNvSpPr>
            <a:spLocks noGrp="1"/>
          </p:cNvSpPr>
          <p:nvPr>
            <p:ph type="body" sz="quarter" idx="14"/>
          </p:nvPr>
        </p:nvSpPr>
        <p:spPr>
          <a:xfrm>
            <a:off x="150853" y="1600200"/>
            <a:ext cx="11890296" cy="45770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pPr/>
              <a:t>‹#›</a:t>
            </a:fld>
            <a:endParaRPr lang="en-US" dirty="0"/>
          </a:p>
        </p:txBody>
      </p:sp>
      <p:sp>
        <p:nvSpPr>
          <p:cNvPr id="20" name="Footer Placeholder 19"/>
          <p:cNvSpPr>
            <a:spLocks noGrp="1"/>
          </p:cNvSpPr>
          <p:nvPr>
            <p:ph type="ftr" sz="quarter" idx="16"/>
          </p:nvPr>
        </p:nvSpPr>
        <p:spPr/>
        <p:txBody>
          <a:bodyPr/>
          <a:lstStyle/>
          <a:p>
            <a:endParaRPr lang="en-US" dirty="0">
              <a:solidFill>
                <a:srgbClr val="00B0F0"/>
              </a:solidFill>
            </a:endParaRPr>
          </a:p>
        </p:txBody>
      </p:sp>
    </p:spTree>
    <p:extLst>
      <p:ext uri="{BB962C8B-B14F-4D97-AF65-F5344CB8AC3E}">
        <p14:creationId xmlns:p14="http://schemas.microsoft.com/office/powerpoint/2010/main" val="2089923686"/>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Walkin">
    <p:bg bwMode="gray">
      <p:bgPr>
        <a:solidFill>
          <a:srgbClr val="00000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380"/>
            <a:ext cx="12192000" cy="6856620"/>
          </a:xfrm>
          <a:prstGeom prst="rect">
            <a:avLst/>
          </a:prstGeom>
        </p:spPr>
      </p:pic>
      <p:pic>
        <p:nvPicPr>
          <p:cNvPr id="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62269" y="474236"/>
            <a:ext cx="1775509" cy="380393"/>
          </a:xfrm>
          <a:prstGeom prst="rect">
            <a:avLst/>
          </a:prstGeom>
        </p:spPr>
      </p:pic>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Tree>
    <p:extLst>
      <p:ext uri="{BB962C8B-B14F-4D97-AF65-F5344CB8AC3E}">
        <p14:creationId xmlns:p14="http://schemas.microsoft.com/office/powerpoint/2010/main" val="3019290016"/>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Slide Photo Layout">
    <p:bg bwMode="gray">
      <p:bgPr>
        <a:solidFill>
          <a:srgbClr val="00205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t="15937" r="3431" b="2608"/>
          <a:stretch/>
        </p:blipFill>
        <p:spPr>
          <a:xfrm>
            <a:off x="1" y="-7783"/>
            <a:ext cx="12221569" cy="6873565"/>
          </a:xfrm>
          <a:prstGeom prst="rect">
            <a:avLst/>
          </a:prstGeom>
        </p:spPr>
      </p:pic>
      <p:sp>
        <p:nvSpPr>
          <p:cNvPr id="19" name="Dark gradation top"/>
          <p:cNvSpPr/>
          <p:nvPr userDrawn="1"/>
        </p:nvSpPr>
        <p:spPr bwMode="gray">
          <a:xfrm>
            <a:off x="0" y="-7783"/>
            <a:ext cx="12106223" cy="6568608"/>
          </a:xfrm>
          <a:prstGeom prst="rect">
            <a:avLst/>
          </a:prstGeom>
          <a:gradFill flip="none" rotWithShape="1">
            <a:gsLst>
              <a:gs pos="0">
                <a:srgbClr val="000000">
                  <a:alpha val="7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79996" y="440492"/>
            <a:ext cx="2871471" cy="1318654"/>
          </a:xfrm>
          <a:prstGeom prst="rect">
            <a:avLst/>
          </a:prstGeom>
        </p:spPr>
      </p:pic>
      <p:sp>
        <p:nvSpPr>
          <p:cNvPr id="18" name="Rectangle 17"/>
          <p:cNvSpPr/>
          <p:nvPr userDrawn="1"/>
        </p:nvSpPr>
        <p:spPr bwMode="gray">
          <a:xfrm>
            <a:off x="269240" y="2084172"/>
            <a:ext cx="5901462" cy="3586208"/>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4171"/>
            <a:ext cx="5903019" cy="206206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240" y="4146242"/>
            <a:ext cx="5901462"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1"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49322" y="6061766"/>
            <a:ext cx="1522404" cy="326167"/>
          </a:xfrm>
          <a:prstGeom prst="rect">
            <a:avLst/>
          </a:prstGeom>
        </p:spPr>
      </p:pic>
    </p:spTree>
    <p:extLst>
      <p:ext uri="{BB962C8B-B14F-4D97-AF65-F5344CB8AC3E}">
        <p14:creationId xmlns:p14="http://schemas.microsoft.com/office/powerpoint/2010/main" val="39948889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Slide 1">
    <p:bg bwMode="auto">
      <p:bgPr>
        <a:solidFill>
          <a:schemeClr val="bg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996" y="440492"/>
            <a:ext cx="2871471" cy="1318654"/>
          </a:xfrm>
          <a:prstGeom prst="rect">
            <a:avLst/>
          </a:prstGeom>
        </p:spPr>
      </p:pic>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806776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8"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2" y="6061766"/>
            <a:ext cx="1522404" cy="326167"/>
          </a:xfrm>
          <a:prstGeom prst="rect">
            <a:avLst/>
          </a:prstGeom>
        </p:spPr>
      </p:pic>
    </p:spTree>
    <p:extLst>
      <p:ext uri="{BB962C8B-B14F-4D97-AF65-F5344CB8AC3E}">
        <p14:creationId xmlns:p14="http://schemas.microsoft.com/office/powerpoint/2010/main" val="39996036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996" y="440492"/>
            <a:ext cx="2871471" cy="1318654"/>
          </a:xfrm>
          <a:prstGeom prst="rect">
            <a:avLst/>
          </a:prstGeom>
        </p:spPr>
      </p:pic>
      <p:sp>
        <p:nvSpPr>
          <p:cNvPr id="3" name="Rectangle 2"/>
          <p:cNvSpPr/>
          <p:nvPr userDrawn="1"/>
        </p:nvSpPr>
        <p:spPr bwMode="auto">
          <a:xfrm>
            <a:off x="269239" y="2084172"/>
            <a:ext cx="8067823"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4187"/>
            <a:ext cx="8067761" cy="1793090"/>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1" y="3878574"/>
            <a:ext cx="8067762" cy="1792326"/>
          </a:xfrm>
          <a:noFill/>
        </p:spPr>
        <p:txBody>
          <a:bodyPr lIns="146304" tIns="109728" rIns="146304" bIns="109728">
            <a:noAutofit/>
          </a:bodyPr>
          <a:lstStyle>
            <a:lvl1pPr marL="0" indent="0">
              <a:spcBef>
                <a:spcPts val="0"/>
              </a:spcBef>
              <a:buNone/>
              <a:defRPr sz="3529"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9322" y="6061766"/>
            <a:ext cx="1522404" cy="326167"/>
          </a:xfrm>
          <a:prstGeom prst="rect">
            <a:avLst/>
          </a:prstGeom>
        </p:spPr>
      </p:pic>
    </p:spTree>
    <p:extLst>
      <p:ext uri="{BB962C8B-B14F-4D97-AF65-F5344CB8AC3E}">
        <p14:creationId xmlns:p14="http://schemas.microsoft.com/office/powerpoint/2010/main" val="133813445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bg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
        <p:nvSpPr>
          <p:cNvPr id="4" name="Rectangle 3"/>
          <p:cNvSpPr/>
          <p:nvPr userDrawn="1"/>
        </p:nvSpPr>
        <p:spPr bwMode="auto">
          <a:xfrm>
            <a:off x="269302" y="1187644"/>
            <a:ext cx="8067761"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8067822"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39" y="3877277"/>
            <a:ext cx="8067813" cy="1793881"/>
          </a:xfrm>
          <a:noFill/>
        </p:spPr>
        <p:txBody>
          <a:bodyPr lIns="182880" tIns="146304" rIns="182880" bIns="146304">
            <a:noAutofit/>
          </a:bodyPr>
          <a:lstStyle>
            <a:lvl1pPr marL="0" indent="0">
              <a:spcBef>
                <a:spcPts val="0"/>
              </a:spcBef>
              <a:buNone/>
              <a:defRPr sz="3529" spc="0" baseline="0">
                <a:gradFill>
                  <a:gsLst>
                    <a:gs pos="0">
                      <a:srgbClr val="FFFFFF"/>
                    </a:gs>
                    <a:gs pos="100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5304334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
        <p:nvSpPr>
          <p:cNvPr id="4" name="Rectangle 3"/>
          <p:cNvSpPr/>
          <p:nvPr userDrawn="1"/>
        </p:nvSpPr>
        <p:spPr bwMode="auto">
          <a:xfrm>
            <a:off x="269302" y="1187644"/>
            <a:ext cx="8067761"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8067822"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0448445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075230261"/>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tile Only">
    <p:spTree>
      <p:nvGrpSpPr>
        <p:cNvPr id="1" name=""/>
        <p:cNvGrpSpPr/>
        <p:nvPr/>
      </p:nvGrpSpPr>
      <p:grpSpPr>
        <a:xfrm>
          <a:off x="0" y="0"/>
          <a:ext cx="0" cy="0"/>
          <a:chOff x="0" y="0"/>
          <a:chExt cx="0" cy="0"/>
        </a:xfrm>
      </p:grpSpPr>
      <p:sp>
        <p:nvSpPr>
          <p:cNvPr id="4" name="Title 3"/>
          <p:cNvSpPr>
            <a:spLocks noGrp="1"/>
          </p:cNvSpPr>
          <p:nvPr>
            <p:ph type="title"/>
          </p:nvPr>
        </p:nvSpPr>
        <p:spPr>
          <a:xfrm>
            <a:off x="366789" y="365126"/>
            <a:ext cx="11506233" cy="797368"/>
          </a:xfrm>
          <a:prstGeom prst="rect">
            <a:avLst/>
          </a:prstGeom>
        </p:spPr>
        <p:txBody>
          <a:bodyPr/>
          <a:lstStyle>
            <a:lvl1pPr>
              <a:defRPr lang="ru-RU"/>
            </a:lvl1pPr>
          </a:lstStyle>
          <a:p>
            <a:pPr marL="0" lvl="0"/>
            <a:r>
              <a:rPr lang="en-US" smtClean="0"/>
              <a:t>Click to edit Master title style</a:t>
            </a:r>
            <a:endParaRPr lang="ru-RU"/>
          </a:p>
        </p:txBody>
      </p:sp>
    </p:spTree>
    <p:extLst>
      <p:ext uri="{BB962C8B-B14F-4D97-AF65-F5344CB8AC3E}">
        <p14:creationId xmlns:p14="http://schemas.microsoft.com/office/powerpoint/2010/main" val="2760699455"/>
      </p:ext>
    </p:extLst>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636705596"/>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122173293"/>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010256214"/>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29240785"/>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1"/>
                    </a:gs>
                    <a:gs pos="100000">
                      <a:schemeClr val="tx1"/>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55105947"/>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918869843"/>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0">
                      <a:schemeClr val="tx1"/>
                    </a:gs>
                    <a:gs pos="100000">
                      <a:schemeClr val="tx1"/>
                    </a:gs>
                  </a:gsLst>
                  <a:lin ang="5400000" scaled="0"/>
                </a:gradFill>
              </a:defRPr>
            </a:lvl1pPr>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907857245"/>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05753082"/>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solidFill>
                  <a:schemeClr val="tx1"/>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solidFill>
                  <a:schemeClr val="tx1"/>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23117554"/>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17709074"/>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slideLayout" Target="../slideLayouts/slideLayout35.xml"/><Relationship Id="rId26" Type="http://schemas.openxmlformats.org/officeDocument/2006/relationships/slideLayout" Target="../slideLayouts/slideLayout43.xml"/><Relationship Id="rId3" Type="http://schemas.openxmlformats.org/officeDocument/2006/relationships/slideLayout" Target="../slideLayouts/slideLayout20.xml"/><Relationship Id="rId21" Type="http://schemas.openxmlformats.org/officeDocument/2006/relationships/slideLayout" Target="../slideLayouts/slideLayout38.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5" Type="http://schemas.openxmlformats.org/officeDocument/2006/relationships/slideLayout" Target="../slideLayouts/slideLayout42.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slideLayout" Target="../slideLayouts/slideLayout37.xml"/><Relationship Id="rId29" Type="http://schemas.openxmlformats.org/officeDocument/2006/relationships/slideLayout" Target="../slideLayouts/slideLayout46.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24" Type="http://schemas.openxmlformats.org/officeDocument/2006/relationships/slideLayout" Target="../slideLayouts/slideLayout41.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23" Type="http://schemas.openxmlformats.org/officeDocument/2006/relationships/slideLayout" Target="../slideLayouts/slideLayout40.xml"/><Relationship Id="rId28" Type="http://schemas.openxmlformats.org/officeDocument/2006/relationships/slideLayout" Target="../slideLayouts/slideLayout45.xml"/><Relationship Id="rId10" Type="http://schemas.openxmlformats.org/officeDocument/2006/relationships/slideLayout" Target="../slideLayouts/slideLayout27.xml"/><Relationship Id="rId19" Type="http://schemas.openxmlformats.org/officeDocument/2006/relationships/slideLayout" Target="../slideLayouts/slideLayout36.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 Id="rId22" Type="http://schemas.openxmlformats.org/officeDocument/2006/relationships/slideLayout" Target="../slideLayouts/slideLayout39.xml"/><Relationship Id="rId27" Type="http://schemas.openxmlformats.org/officeDocument/2006/relationships/slideLayout" Target="../slideLayouts/slideLayout44.xml"/><Relationship Id="rId30"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5" Type="http://schemas.openxmlformats.org/officeDocument/2006/relationships/image" Target="../media/image21.png"/><Relationship Id="rId10" Type="http://schemas.openxmlformats.org/officeDocument/2006/relationships/slideLayout" Target="../slideLayouts/slideLayout56.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3" Type="http://schemas.openxmlformats.org/officeDocument/2006/relationships/slideLayout" Target="../slideLayouts/slideLayout62.xml"/><Relationship Id="rId21" Type="http://schemas.openxmlformats.org/officeDocument/2006/relationships/slideLayout" Target="../slideLayouts/slideLayout80.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5" Type="http://schemas.openxmlformats.org/officeDocument/2006/relationships/image" Target="../media/image21.png"/><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slideLayout" Target="../slideLayouts/slideLayout79.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24" Type="http://schemas.openxmlformats.org/officeDocument/2006/relationships/theme" Target="../theme/theme4.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23" Type="http://schemas.openxmlformats.org/officeDocument/2006/relationships/slideLayout" Target="../slideLayouts/slideLayout82.xml"/><Relationship Id="rId10" Type="http://schemas.openxmlformats.org/officeDocument/2006/relationships/slideLayout" Target="../slideLayouts/slideLayout69.xml"/><Relationship Id="rId19" Type="http://schemas.openxmlformats.org/officeDocument/2006/relationships/slideLayout" Target="../slideLayouts/slideLayout78.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slideLayout" Target="../slideLayouts/slideLayout8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slideLayout" Target="../slideLayouts/slideLayout95.xml"/><Relationship Id="rId18" Type="http://schemas.openxmlformats.org/officeDocument/2006/relationships/slideLayout" Target="../slideLayouts/slideLayout100.xml"/><Relationship Id="rId26" Type="http://schemas.openxmlformats.org/officeDocument/2006/relationships/slideLayout" Target="../slideLayouts/slideLayout108.xml"/><Relationship Id="rId3" Type="http://schemas.openxmlformats.org/officeDocument/2006/relationships/slideLayout" Target="../slideLayouts/slideLayout85.xml"/><Relationship Id="rId21" Type="http://schemas.openxmlformats.org/officeDocument/2006/relationships/slideLayout" Target="../slideLayouts/slideLayout103.xml"/><Relationship Id="rId34" Type="http://schemas.openxmlformats.org/officeDocument/2006/relationships/slideLayout" Target="../slideLayouts/slideLayout116.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17" Type="http://schemas.openxmlformats.org/officeDocument/2006/relationships/slideLayout" Target="../slideLayouts/slideLayout99.xml"/><Relationship Id="rId25" Type="http://schemas.openxmlformats.org/officeDocument/2006/relationships/slideLayout" Target="../slideLayouts/slideLayout107.xml"/><Relationship Id="rId33" Type="http://schemas.openxmlformats.org/officeDocument/2006/relationships/slideLayout" Target="../slideLayouts/slideLayout115.xml"/><Relationship Id="rId38" Type="http://schemas.openxmlformats.org/officeDocument/2006/relationships/image" Target="../media/image29.png"/><Relationship Id="rId2" Type="http://schemas.openxmlformats.org/officeDocument/2006/relationships/slideLayout" Target="../slideLayouts/slideLayout84.xml"/><Relationship Id="rId16" Type="http://schemas.openxmlformats.org/officeDocument/2006/relationships/slideLayout" Target="../slideLayouts/slideLayout98.xml"/><Relationship Id="rId20" Type="http://schemas.openxmlformats.org/officeDocument/2006/relationships/slideLayout" Target="../slideLayouts/slideLayout102.xml"/><Relationship Id="rId29" Type="http://schemas.openxmlformats.org/officeDocument/2006/relationships/slideLayout" Target="../slideLayouts/slideLayout111.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24" Type="http://schemas.openxmlformats.org/officeDocument/2006/relationships/slideLayout" Target="../slideLayouts/slideLayout106.xml"/><Relationship Id="rId32" Type="http://schemas.openxmlformats.org/officeDocument/2006/relationships/slideLayout" Target="../slideLayouts/slideLayout114.xml"/><Relationship Id="rId37" Type="http://schemas.openxmlformats.org/officeDocument/2006/relationships/image" Target="../media/image28.png"/><Relationship Id="rId5" Type="http://schemas.openxmlformats.org/officeDocument/2006/relationships/slideLayout" Target="../slideLayouts/slideLayout87.xml"/><Relationship Id="rId15" Type="http://schemas.openxmlformats.org/officeDocument/2006/relationships/slideLayout" Target="../slideLayouts/slideLayout97.xml"/><Relationship Id="rId23" Type="http://schemas.openxmlformats.org/officeDocument/2006/relationships/slideLayout" Target="../slideLayouts/slideLayout105.xml"/><Relationship Id="rId28" Type="http://schemas.openxmlformats.org/officeDocument/2006/relationships/slideLayout" Target="../slideLayouts/slideLayout110.xml"/><Relationship Id="rId36" Type="http://schemas.openxmlformats.org/officeDocument/2006/relationships/theme" Target="../theme/theme5.xml"/><Relationship Id="rId10" Type="http://schemas.openxmlformats.org/officeDocument/2006/relationships/slideLayout" Target="../slideLayouts/slideLayout92.xml"/><Relationship Id="rId19" Type="http://schemas.openxmlformats.org/officeDocument/2006/relationships/slideLayout" Target="../slideLayouts/slideLayout101.xml"/><Relationship Id="rId31" Type="http://schemas.openxmlformats.org/officeDocument/2006/relationships/slideLayout" Target="../slideLayouts/slideLayout113.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slideLayout" Target="../slideLayouts/slideLayout96.xml"/><Relationship Id="rId22" Type="http://schemas.openxmlformats.org/officeDocument/2006/relationships/slideLayout" Target="../slideLayouts/slideLayout104.xml"/><Relationship Id="rId27" Type="http://schemas.openxmlformats.org/officeDocument/2006/relationships/slideLayout" Target="../slideLayouts/slideLayout109.xml"/><Relationship Id="rId30" Type="http://schemas.openxmlformats.org/officeDocument/2006/relationships/slideLayout" Target="../slideLayouts/slideLayout112.xml"/><Relationship Id="rId35" Type="http://schemas.openxmlformats.org/officeDocument/2006/relationships/slideLayout" Target="../slideLayouts/slideLayout11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5.xml"/><Relationship Id="rId13" Type="http://schemas.openxmlformats.org/officeDocument/2006/relationships/slideLayout" Target="../slideLayouts/slideLayout130.xml"/><Relationship Id="rId18" Type="http://schemas.openxmlformats.org/officeDocument/2006/relationships/slideLayout" Target="../slideLayouts/slideLayout135.xml"/><Relationship Id="rId3" Type="http://schemas.openxmlformats.org/officeDocument/2006/relationships/slideLayout" Target="../slideLayouts/slideLayout120.xml"/><Relationship Id="rId21" Type="http://schemas.openxmlformats.org/officeDocument/2006/relationships/slideLayout" Target="../slideLayouts/slideLayout138.xml"/><Relationship Id="rId7" Type="http://schemas.openxmlformats.org/officeDocument/2006/relationships/slideLayout" Target="../slideLayouts/slideLayout124.xml"/><Relationship Id="rId12" Type="http://schemas.openxmlformats.org/officeDocument/2006/relationships/slideLayout" Target="../slideLayouts/slideLayout129.xml"/><Relationship Id="rId17" Type="http://schemas.openxmlformats.org/officeDocument/2006/relationships/slideLayout" Target="../slideLayouts/slideLayout134.xml"/><Relationship Id="rId2" Type="http://schemas.openxmlformats.org/officeDocument/2006/relationships/slideLayout" Target="../slideLayouts/slideLayout119.xml"/><Relationship Id="rId16" Type="http://schemas.openxmlformats.org/officeDocument/2006/relationships/slideLayout" Target="../slideLayouts/slideLayout133.xml"/><Relationship Id="rId20" Type="http://schemas.openxmlformats.org/officeDocument/2006/relationships/slideLayout" Target="../slideLayouts/slideLayout137.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5" Type="http://schemas.openxmlformats.org/officeDocument/2006/relationships/slideLayout" Target="../slideLayouts/slideLayout122.xml"/><Relationship Id="rId15" Type="http://schemas.openxmlformats.org/officeDocument/2006/relationships/slideLayout" Target="../slideLayouts/slideLayout132.xml"/><Relationship Id="rId10" Type="http://schemas.openxmlformats.org/officeDocument/2006/relationships/slideLayout" Target="../slideLayouts/slideLayout127.xml"/><Relationship Id="rId19" Type="http://schemas.openxmlformats.org/officeDocument/2006/relationships/slideLayout" Target="../slideLayouts/slideLayout136.xml"/><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slideLayout" Target="../slideLayouts/slideLayout131.xml"/><Relationship Id="rId22"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6.xml"/><Relationship Id="rId13" Type="http://schemas.openxmlformats.org/officeDocument/2006/relationships/slideLayout" Target="../slideLayouts/slideLayout151.xml"/><Relationship Id="rId18" Type="http://schemas.openxmlformats.org/officeDocument/2006/relationships/slideLayout" Target="../slideLayouts/slideLayout156.xml"/><Relationship Id="rId3" Type="http://schemas.openxmlformats.org/officeDocument/2006/relationships/slideLayout" Target="../slideLayouts/slideLayout141.xml"/><Relationship Id="rId21" Type="http://schemas.openxmlformats.org/officeDocument/2006/relationships/image" Target="../media/image46.png"/><Relationship Id="rId7" Type="http://schemas.openxmlformats.org/officeDocument/2006/relationships/slideLayout" Target="../slideLayouts/slideLayout145.xml"/><Relationship Id="rId12" Type="http://schemas.openxmlformats.org/officeDocument/2006/relationships/slideLayout" Target="../slideLayouts/slideLayout150.xml"/><Relationship Id="rId17" Type="http://schemas.openxmlformats.org/officeDocument/2006/relationships/slideLayout" Target="../slideLayouts/slideLayout155.xml"/><Relationship Id="rId2" Type="http://schemas.openxmlformats.org/officeDocument/2006/relationships/slideLayout" Target="../slideLayouts/slideLayout140.xml"/><Relationship Id="rId16" Type="http://schemas.openxmlformats.org/officeDocument/2006/relationships/slideLayout" Target="../slideLayouts/slideLayout154.xml"/><Relationship Id="rId20" Type="http://schemas.openxmlformats.org/officeDocument/2006/relationships/image" Target="../media/image45.jpeg"/><Relationship Id="rId1" Type="http://schemas.openxmlformats.org/officeDocument/2006/relationships/slideLayout" Target="../slideLayouts/slideLayout139.xml"/><Relationship Id="rId6" Type="http://schemas.openxmlformats.org/officeDocument/2006/relationships/slideLayout" Target="../slideLayouts/slideLayout144.xml"/><Relationship Id="rId11" Type="http://schemas.openxmlformats.org/officeDocument/2006/relationships/slideLayout" Target="../slideLayouts/slideLayout149.xml"/><Relationship Id="rId5" Type="http://schemas.openxmlformats.org/officeDocument/2006/relationships/slideLayout" Target="../slideLayouts/slideLayout143.xml"/><Relationship Id="rId15" Type="http://schemas.openxmlformats.org/officeDocument/2006/relationships/slideLayout" Target="../slideLayouts/slideLayout153.xml"/><Relationship Id="rId10" Type="http://schemas.openxmlformats.org/officeDocument/2006/relationships/slideLayout" Target="../slideLayouts/slideLayout148.xml"/><Relationship Id="rId19" Type="http://schemas.openxmlformats.org/officeDocument/2006/relationships/theme" Target="../theme/theme7.xml"/><Relationship Id="rId4" Type="http://schemas.openxmlformats.org/officeDocument/2006/relationships/slideLayout" Target="../slideLayouts/slideLayout142.xml"/><Relationship Id="rId9" Type="http://schemas.openxmlformats.org/officeDocument/2006/relationships/slideLayout" Target="../slideLayouts/slideLayout147.xml"/><Relationship Id="rId14" Type="http://schemas.openxmlformats.org/officeDocument/2006/relationships/slideLayout" Target="../slideLayouts/slideLayout152.xml"/><Relationship Id="rId22" Type="http://schemas.openxmlformats.org/officeDocument/2006/relationships/image" Target="../media/image47.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3838279"/>
      </p:ext>
    </p:extLst>
  </p:cSld>
  <p:clrMap bg1="lt1" tx1="dk1" bg2="lt2" tx2="dk2" accent1="accent1" accent2="accent2" accent3="accent3" accent4="accent4" accent5="accent5" accent6="accent6" hlink="hlink" folHlink="folHlink"/>
  <p:sldLayoutIdLst>
    <p:sldLayoutId id="2147483668" r:id="rId1"/>
    <p:sldLayoutId id="2147483651" r:id="rId2"/>
    <p:sldLayoutId id="2147483673" r:id="rId3"/>
    <p:sldLayoutId id="2147483674" r:id="rId4"/>
    <p:sldLayoutId id="2147483665" r:id="rId5"/>
    <p:sldLayoutId id="2147483669" r:id="rId6"/>
    <p:sldLayoutId id="2147483653" r:id="rId7"/>
    <p:sldLayoutId id="2147483672" r:id="rId8"/>
    <p:sldLayoutId id="2147483650" r:id="rId9"/>
    <p:sldLayoutId id="2147483666" r:id="rId10"/>
    <p:sldLayoutId id="2147483652" r:id="rId11"/>
    <p:sldLayoutId id="2147483667" r:id="rId12"/>
    <p:sldLayoutId id="2147483671" r:id="rId13"/>
    <p:sldLayoutId id="2147483670" r:id="rId14"/>
    <p:sldLayoutId id="2147483706" r:id="rId15"/>
    <p:sldLayoutId id="2147483803" r:id="rId16"/>
    <p:sldLayoutId id="2147483826" r:id="rId1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306561"/>
            <a:ext cx="11655840" cy="881060"/>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204636"/>
            <a:ext cx="11653521"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2"/>
          <p:cNvSpPr>
            <a:spLocks noGrp="1"/>
          </p:cNvSpPr>
          <p:nvPr>
            <p:ph type="ftr" sz="quarter" idx="3"/>
          </p:nvPr>
        </p:nvSpPr>
        <p:spPr>
          <a:xfrm>
            <a:off x="269239" y="6589713"/>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smtClean="0">
                <a:gradFill>
                  <a:gsLst>
                    <a:gs pos="2239">
                      <a:srgbClr val="505050"/>
                    </a:gs>
                    <a:gs pos="11940">
                      <a:srgbClr val="505050"/>
                    </a:gs>
                  </a:gsLst>
                  <a:lin ang="5400000" scaled="0"/>
                </a:gradFill>
              </a:rPr>
              <a:t>Microsoft Confidential</a:t>
            </a:r>
            <a:endParaRPr>
              <a:gradFill>
                <a:gsLst>
                  <a:gs pos="2239">
                    <a:srgbClr val="505050"/>
                  </a:gs>
                  <a:gs pos="11940">
                    <a:srgbClr val="505050"/>
                  </a:gs>
                </a:gsLst>
                <a:lin ang="5400000" scaled="0"/>
              </a:gradFill>
            </a:endParaRPr>
          </a:p>
        </p:txBody>
      </p:sp>
      <p:sp>
        <p:nvSpPr>
          <p:cNvPr id="6" name="Slide Number Placeholder 4"/>
          <p:cNvSpPr>
            <a:spLocks noGrp="1"/>
          </p:cNvSpPr>
          <p:nvPr>
            <p:ph type="sldNum" sz="quarter" idx="4"/>
          </p:nvPr>
        </p:nvSpPr>
        <p:spPr>
          <a:xfrm>
            <a:off x="11367166" y="6589713"/>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pPr defTabSz="914367"/>
            <a:fld id="{27258FFF-F925-446B-8502-81C933981705}" type="slidenum">
              <a:rPr lang="ru-RU" smtClean="0">
                <a:gradFill>
                  <a:gsLst>
                    <a:gs pos="2239">
                      <a:srgbClr val="505050"/>
                    </a:gs>
                    <a:gs pos="11940">
                      <a:srgbClr val="505050"/>
                    </a:gs>
                  </a:gsLst>
                  <a:lin ang="5400000" scaled="0"/>
                </a:gradFill>
              </a:rPr>
              <a:pPr defTabSz="914367"/>
              <a:t>‹#›</a:t>
            </a:fld>
            <a:endParaRPr lang="ru-RU">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1976194687"/>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 id="2147483693" r:id="rId18"/>
    <p:sldLayoutId id="2147483694" r:id="rId19"/>
    <p:sldLayoutId id="2147483695" r:id="rId20"/>
    <p:sldLayoutId id="2147483696" r:id="rId21"/>
    <p:sldLayoutId id="2147483697" r:id="rId22"/>
    <p:sldLayoutId id="2147483698" r:id="rId23"/>
    <p:sldLayoutId id="2147483699" r:id="rId24"/>
    <p:sldLayoutId id="2147483700" r:id="rId25"/>
    <p:sldLayoutId id="2147483701" r:id="rId26"/>
    <p:sldLayoutId id="2147483703" r:id="rId27"/>
    <p:sldLayoutId id="2147483704" r:id="rId28"/>
    <p:sldLayoutId id="2147483705" r:id="rId29"/>
  </p:sldLayoutIdLst>
  <p:transition>
    <p:fade/>
  </p:transition>
  <p:timing>
    <p:tnLst>
      <p:par>
        <p:cTn id="1" dur="indefinite" restart="never" nodeType="tmRoot"/>
      </p:par>
    </p:tnLst>
  </p:timing>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orient="horz" pos="763">
          <p15:clr>
            <a:srgbClr val="A4A3A4"/>
          </p15:clr>
        </p15:guide>
        <p15:guide id="3" orient="horz" pos="1341">
          <p15:clr>
            <a:srgbClr val="A4A3A4"/>
          </p15:clr>
        </p15:guide>
        <p15:guide id="4" orient="horz" pos="1915">
          <p15:clr>
            <a:srgbClr val="A4A3A4"/>
          </p15:clr>
        </p15:guide>
        <p15:guide id="5" orient="horz" pos="2491">
          <p15:clr>
            <a:srgbClr val="A4A3A4"/>
          </p15:clr>
        </p15:guide>
        <p15:guide id="6" orient="horz" pos="3067">
          <p15:clr>
            <a:srgbClr val="A4A3A4"/>
          </p15:clr>
        </p15:guide>
        <p15:guide id="7" orient="horz" pos="3645">
          <p15:clr>
            <a:srgbClr val="A4A3A4"/>
          </p15:clr>
        </p15:guide>
        <p15:guide id="8" orient="horz" pos="4219">
          <p15:clr>
            <a:srgbClr val="5ACBF0"/>
          </p15:clr>
        </p15:guide>
        <p15:guide id="9" pos="749">
          <p15:clr>
            <a:srgbClr val="A4A3A4"/>
          </p15:clr>
        </p15:guide>
        <p15:guide id="10" pos="1325">
          <p15:clr>
            <a:srgbClr val="A4A3A4"/>
          </p15:clr>
        </p15:guide>
        <p15:guide id="11" pos="1901">
          <p15:clr>
            <a:srgbClr val="A4A3A4"/>
          </p15:clr>
        </p15:guide>
        <p15:guide id="12" pos="2477">
          <p15:clr>
            <a:srgbClr val="A4A3A4"/>
          </p15:clr>
        </p15:guide>
        <p15:guide id="13" pos="3053">
          <p15:clr>
            <a:srgbClr val="A4A3A4"/>
          </p15:clr>
        </p15:guide>
        <p15:guide id="14" pos="3629">
          <p15:clr>
            <a:srgbClr val="A4A3A4"/>
          </p15:clr>
        </p15:guide>
        <p15:guide id="15" pos="4205">
          <p15:clr>
            <a:srgbClr val="A4A3A4"/>
          </p15:clr>
        </p15:guide>
        <p15:guide id="16" pos="4781">
          <p15:clr>
            <a:srgbClr val="A4A3A4"/>
          </p15:clr>
        </p15:guide>
        <p15:guide id="17" pos="5357">
          <p15:clr>
            <a:srgbClr val="A4A3A4"/>
          </p15:clr>
        </p15:guide>
        <p15:guide id="18" pos="5933">
          <p15:clr>
            <a:srgbClr val="A4A3A4"/>
          </p15:clr>
        </p15:guide>
        <p15:guide id="19" pos="6509">
          <p15:clr>
            <a:srgbClr val="A4A3A4"/>
          </p15:clr>
        </p15:guide>
        <p15:guide id="20" pos="7085">
          <p15:clr>
            <a:srgbClr val="A4A3A4"/>
          </p15:clr>
        </p15:guide>
        <p15:guide id="21" pos="7661">
          <p15:clr>
            <a:srgbClr val="5ACBF0"/>
          </p15:clr>
        </p15:guide>
        <p15:guide id="22" pos="173">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15" cstate="print">
            <a:extLst>
              <a:ext uri="{28A0092B-C50C-407E-A947-70E740481C1C}">
                <a14:useLocalDpi xmlns:a14="http://schemas.microsoft.com/office/drawing/2010/main" val="0"/>
              </a:ext>
            </a:extLst>
          </a:blip>
          <a:srcRect r="3957" b="4063"/>
          <a:stretch/>
        </p:blipFill>
        <p:spPr>
          <a:xfrm>
            <a:off x="10947" y="973"/>
            <a:ext cx="12170106" cy="6857027"/>
          </a:xfrm>
          <a:prstGeom prst="rect">
            <a:avLst/>
          </a:prstGeom>
        </p:spPr>
      </p:pic>
      <p:sp>
        <p:nvSpPr>
          <p:cNvPr id="2" name="Title Placeholder 1"/>
          <p:cNvSpPr>
            <a:spLocks noGrp="1"/>
          </p:cNvSpPr>
          <p:nvPr>
            <p:ph type="title"/>
          </p:nvPr>
        </p:nvSpPr>
        <p:spPr>
          <a:xfrm>
            <a:off x="560798" y="342355"/>
            <a:ext cx="11079822" cy="957600"/>
          </a:xfrm>
          <a:prstGeom prst="rect">
            <a:avLst/>
          </a:prstGeom>
        </p:spPr>
        <p:txBody>
          <a:bodyPr vert="horz" lIns="91440" tIns="45720" rIns="91440" bIns="45720" rtlCol="0" anchor="t">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482812"/>
            <a:ext cx="11079822" cy="4419734"/>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pPr>
              <a:defRPr/>
            </a:pPr>
            <a:fld id="{0D099E2A-118A-4377-8F98-2DF40BCBA9FE}" type="slidenum">
              <a:rPr lang="en-US" smtClean="0"/>
              <a:pPr>
                <a:defRPr/>
              </a:pPr>
              <a:t>‹#›</a:t>
            </a:fld>
            <a:endParaRPr lang="en-US"/>
          </a:p>
        </p:txBody>
      </p:sp>
    </p:spTree>
    <p:extLst>
      <p:ext uri="{BB962C8B-B14F-4D97-AF65-F5344CB8AC3E}">
        <p14:creationId xmlns:p14="http://schemas.microsoft.com/office/powerpoint/2010/main" val="3032449483"/>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 id="2147483716" r:id="rId9"/>
    <p:sldLayoutId id="2147483717" r:id="rId10"/>
    <p:sldLayoutId id="2147483718" r:id="rId11"/>
    <p:sldLayoutId id="2147483719" r:id="rId12"/>
    <p:sldLayoutId id="2147483720" r:id="rId13"/>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5" cstate="print">
            <a:extLst>
              <a:ext uri="{28A0092B-C50C-407E-A947-70E740481C1C}">
                <a14:useLocalDpi xmlns:a14="http://schemas.microsoft.com/office/drawing/2010/main" val="0"/>
              </a:ext>
            </a:extLst>
          </a:blip>
          <a:srcRect r="3957" b="4063"/>
          <a:stretch/>
        </p:blipFill>
        <p:spPr>
          <a:xfrm>
            <a:off x="10947" y="973"/>
            <a:ext cx="12170106" cy="6857027"/>
          </a:xfrm>
          <a:prstGeom prst="rect">
            <a:avLst/>
          </a:prstGeom>
        </p:spPr>
      </p:pic>
      <p:sp>
        <p:nvSpPr>
          <p:cNvPr id="2" name="Title Placeholder 1"/>
          <p:cNvSpPr>
            <a:spLocks noGrp="1"/>
          </p:cNvSpPr>
          <p:nvPr>
            <p:ph type="title"/>
          </p:nvPr>
        </p:nvSpPr>
        <p:spPr>
          <a:xfrm>
            <a:off x="560798" y="342355"/>
            <a:ext cx="11079822" cy="957600"/>
          </a:xfrm>
          <a:prstGeom prst="rect">
            <a:avLst/>
          </a:prstGeom>
        </p:spPr>
        <p:txBody>
          <a:bodyPr vert="horz" lIns="91440" tIns="45720" rIns="91440" bIns="45720" rtlCol="0" anchor="t">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482812"/>
            <a:ext cx="11079822" cy="4419734"/>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a:p>
        </p:txBody>
      </p:sp>
    </p:spTree>
    <p:extLst>
      <p:ext uri="{BB962C8B-B14F-4D97-AF65-F5344CB8AC3E}">
        <p14:creationId xmlns:p14="http://schemas.microsoft.com/office/powerpoint/2010/main" val="298889063"/>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 id="2147483731" r:id="rId10"/>
    <p:sldLayoutId id="2147483732" r:id="rId11"/>
    <p:sldLayoutId id="2147483733" r:id="rId12"/>
    <p:sldLayoutId id="2147483734" r:id="rId13"/>
    <p:sldLayoutId id="2147483735" r:id="rId14"/>
    <p:sldLayoutId id="2147483736" r:id="rId15"/>
    <p:sldLayoutId id="2147483737" r:id="rId16"/>
    <p:sldLayoutId id="2147483738" r:id="rId17"/>
    <p:sldLayoutId id="2147483739" r:id="rId18"/>
    <p:sldLayoutId id="2147483740" r:id="rId19"/>
    <p:sldLayoutId id="2147483741" r:id="rId20"/>
    <p:sldLayoutId id="2147483742" r:id="rId21"/>
    <p:sldLayoutId id="2147483743" r:id="rId22"/>
    <p:sldLayoutId id="2147483744" r:id="rId23"/>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p:nvPicPr>
        <p:blipFill>
          <a:blip r:embed="rId37" cstate="email">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1981792221"/>
      </p:ext>
    </p:extLst>
  </p:cSld>
  <p:clrMap bg1="dk1" tx1="lt1" bg2="dk2" tx2="lt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 id="2147483752" r:id="rId6"/>
    <p:sldLayoutId id="2147483753" r:id="rId7"/>
    <p:sldLayoutId id="2147483754" r:id="rId8"/>
    <p:sldLayoutId id="2147483755" r:id="rId9"/>
    <p:sldLayoutId id="2147483756" r:id="rId10"/>
    <p:sldLayoutId id="2147483757" r:id="rId11"/>
    <p:sldLayoutId id="2147483758" r:id="rId12"/>
    <p:sldLayoutId id="2147483759" r:id="rId13"/>
    <p:sldLayoutId id="2147483760" r:id="rId14"/>
    <p:sldLayoutId id="2147483761" r:id="rId15"/>
    <p:sldLayoutId id="2147483762" r:id="rId16"/>
    <p:sldLayoutId id="2147483763" r:id="rId17"/>
    <p:sldLayoutId id="2147483764" r:id="rId18"/>
    <p:sldLayoutId id="2147483765" r:id="rId19"/>
    <p:sldLayoutId id="2147483766" r:id="rId20"/>
    <p:sldLayoutId id="2147483767" r:id="rId21"/>
    <p:sldLayoutId id="2147483768" r:id="rId22"/>
    <p:sldLayoutId id="2147483769" r:id="rId23"/>
    <p:sldLayoutId id="2147483770" r:id="rId24"/>
    <p:sldLayoutId id="2147483771" r:id="rId25"/>
    <p:sldLayoutId id="2147483772" r:id="rId26"/>
    <p:sldLayoutId id="2147483773" r:id="rId27"/>
    <p:sldLayoutId id="2147483774" r:id="rId28"/>
    <p:sldLayoutId id="2147483775" r:id="rId29"/>
    <p:sldLayoutId id="2147483776" r:id="rId30"/>
    <p:sldLayoutId id="2147483777" r:id="rId31"/>
    <p:sldLayoutId id="2147483778" r:id="rId32"/>
    <p:sldLayoutId id="2147483779" r:id="rId33"/>
    <p:sldLayoutId id="2147483822" r:id="rId34"/>
    <p:sldLayoutId id="2147483823" r:id="rId35"/>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100000"/>
        <a:buFontTx/>
        <a:buBlip>
          <a:blip r:embed="rId38"/>
        </a:buBlip>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100000"/>
        <a:buFontTx/>
        <a:buBlip>
          <a:blip r:embed="rId38"/>
        </a:buBlip>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100000"/>
        <a:buFontTx/>
        <a:buBlip>
          <a:blip r:embed="rId38"/>
        </a:buBlip>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100000"/>
        <a:buFontTx/>
        <a:buBlip>
          <a:blip r:embed="rId38"/>
        </a:buBlip>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100000"/>
        <a:buFontTx/>
        <a:buBlip>
          <a:blip r:embed="rId38"/>
        </a:buBlip>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056000" y="549000"/>
            <a:ext cx="10297800" cy="720000"/>
          </a:xfrm>
          <a:prstGeom prst="rect">
            <a:avLst/>
          </a:prstGeom>
        </p:spPr>
        <p:txBody>
          <a:bodyPr vert="horz" lIns="36000" tIns="45720" rIns="36000" bIns="45720" rtlCol="0" anchor="ctr">
            <a:normAutofit/>
          </a:bodyPr>
          <a:lstStyle/>
          <a:p>
            <a:r>
              <a:rPr lang="ru-RU" dirty="0" smtClean="0"/>
              <a:t>Образец заголовка</a:t>
            </a:r>
            <a:endParaRPr lang="ru-RU" dirty="0"/>
          </a:p>
        </p:txBody>
      </p:sp>
      <p:sp>
        <p:nvSpPr>
          <p:cNvPr id="3" name="Текст 2"/>
          <p:cNvSpPr>
            <a:spLocks noGrp="1"/>
          </p:cNvSpPr>
          <p:nvPr>
            <p:ph type="body" idx="1"/>
          </p:nvPr>
        </p:nvSpPr>
        <p:spPr>
          <a:xfrm>
            <a:off x="1056000" y="1449000"/>
            <a:ext cx="10297800" cy="4860000"/>
          </a:xfrm>
          <a:prstGeom prst="rect">
            <a:avLst/>
          </a:prstGeom>
        </p:spPr>
        <p:txBody>
          <a:bodyPr vert="horz" lIns="36000" tIns="45720" rIns="36000" bIns="45720" rtlCol="0">
            <a:norm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p:txBody>
      </p:sp>
    </p:spTree>
    <p:extLst>
      <p:ext uri="{BB962C8B-B14F-4D97-AF65-F5344CB8AC3E}">
        <p14:creationId xmlns:p14="http://schemas.microsoft.com/office/powerpoint/2010/main" val="3733661504"/>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 id="2147483794" r:id="rId14"/>
    <p:sldLayoutId id="2147483795" r:id="rId15"/>
    <p:sldLayoutId id="2147483796" r:id="rId16"/>
    <p:sldLayoutId id="2147483797" r:id="rId17"/>
    <p:sldLayoutId id="2147483798" r:id="rId18"/>
    <p:sldLayoutId id="2147483799" r:id="rId19"/>
    <p:sldLayoutId id="2147483800" r:id="rId20"/>
    <p:sldLayoutId id="2147483801" r:id="rId21"/>
  </p:sldLayoutIdLst>
  <p:txStyles>
    <p:titleStyle>
      <a:lvl1pPr algn="l" defTabSz="914400" rtl="0" eaLnBrk="1" latinLnBrk="0" hangingPunct="1">
        <a:lnSpc>
          <a:spcPct val="90000"/>
        </a:lnSpc>
        <a:spcBef>
          <a:spcPct val="0"/>
        </a:spcBef>
        <a:buNone/>
        <a:defRPr sz="42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800"/>
        </a:spcBef>
        <a:buFont typeface="Wingdings" panose="05000000000000000000" pitchFamily="2" charset="2"/>
        <a:buChar char="§"/>
        <a:defRPr sz="3200" kern="1200">
          <a:solidFill>
            <a:schemeClr val="accent4">
              <a:lumMod val="60000"/>
              <a:lumOff val="40000"/>
            </a:schemeClr>
          </a:solidFill>
          <a:latin typeface="+mn-lt"/>
          <a:ea typeface="+mn-ea"/>
          <a:cs typeface="+mn-cs"/>
        </a:defRPr>
      </a:lvl1pPr>
      <a:lvl2pPr marL="685800" indent="-228600" algn="l" defTabSz="914400" rtl="0" eaLnBrk="1" latinLnBrk="0" hangingPunct="1">
        <a:lnSpc>
          <a:spcPct val="90000"/>
        </a:lnSpc>
        <a:spcBef>
          <a:spcPts val="500"/>
        </a:spcBef>
        <a:buFont typeface="Wingdings" panose="05000000000000000000" pitchFamily="2" charset="2"/>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Wingdings" panose="05000000000000000000" pitchFamily="2" charset="2"/>
        <a:buChar char="§"/>
        <a:defRPr sz="1800" kern="1200">
          <a:solidFill>
            <a:schemeClr val="tx2">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Wingdings" panose="05000000000000000000" pitchFamily="2" charset="2"/>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Wingdings" panose="05000000000000000000" pitchFamily="2"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20"/>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0117" y="228600"/>
            <a:ext cx="11173883" cy="666750"/>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0117" y="1447800"/>
            <a:ext cx="11173883" cy="2000250"/>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35085407"/>
      </p:ext>
    </p:extLst>
  </p:cSld>
  <p:clrMap bg1="lt1" tx1="dk1" bg2="lt2" tx2="dk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10" r:id="rId6"/>
    <p:sldLayoutId id="2147483811" r:id="rId7"/>
    <p:sldLayoutId id="2147483812" r:id="rId8"/>
    <p:sldLayoutId id="2147483813" r:id="rId9"/>
    <p:sldLayoutId id="2147483814" r:id="rId10"/>
    <p:sldLayoutId id="2147483815" r:id="rId11"/>
    <p:sldLayoutId id="2147483816" r:id="rId12"/>
    <p:sldLayoutId id="2147483817" r:id="rId13"/>
    <p:sldLayoutId id="2147483818" r:id="rId14"/>
    <p:sldLayoutId id="2147483819" r:id="rId15"/>
    <p:sldLayoutId id="2147483820" r:id="rId16"/>
    <p:sldLayoutId id="2147483824" r:id="rId17"/>
    <p:sldLayoutId id="2147483825" r:id="rId18"/>
  </p:sldLayoutIdLst>
  <p:transition>
    <p:fade/>
  </p:transition>
  <p:hf sldNum="0" hdr="0" ftr="0" dt="0"/>
  <p:txStyles>
    <p:titleStyle>
      <a:lvl1pPr algn="l" defTabSz="912813" rtl="0" eaLnBrk="1" fontAlgn="base" hangingPunct="1">
        <a:lnSpc>
          <a:spcPct val="90000"/>
        </a:lnSpc>
        <a:spcBef>
          <a:spcPct val="0"/>
        </a:spcBef>
        <a:spcAft>
          <a:spcPct val="0"/>
        </a:spcAft>
        <a:defRPr lang="en-US" sz="4800" kern="1200" spc="-200" dirty="0">
          <a:ln w="3175">
            <a:noFill/>
          </a:ln>
          <a:gradFill flip="none" rotWithShape="1">
            <a:gsLst>
              <a:gs pos="0">
                <a:schemeClr val="tx1"/>
              </a:gs>
              <a:gs pos="86000">
                <a:schemeClr val="tx1"/>
              </a:gs>
            </a:gsLst>
            <a:lin ang="5400000" scaled="0"/>
            <a:tileRect/>
          </a:gradFill>
          <a:latin typeface="+mj-lt"/>
          <a:ea typeface="+mn-ea"/>
          <a:cs typeface="Arial" charset="0"/>
        </a:defRPr>
      </a:lvl1pPr>
      <a:lvl2pPr algn="l" defTabSz="912813" rtl="0" eaLnBrk="1" fontAlgn="base" hangingPunct="1">
        <a:lnSpc>
          <a:spcPct val="90000"/>
        </a:lnSpc>
        <a:spcBef>
          <a:spcPct val="0"/>
        </a:spcBef>
        <a:spcAft>
          <a:spcPct val="0"/>
        </a:spcAft>
        <a:defRPr sz="4800">
          <a:solidFill>
            <a:schemeClr val="tx1"/>
          </a:solidFill>
          <a:latin typeface="Segoe UI" pitchFamily="34" charset="0"/>
          <a:cs typeface="Arial" charset="0"/>
        </a:defRPr>
      </a:lvl2pPr>
      <a:lvl3pPr algn="l" defTabSz="912813" rtl="0" eaLnBrk="1" fontAlgn="base" hangingPunct="1">
        <a:lnSpc>
          <a:spcPct val="90000"/>
        </a:lnSpc>
        <a:spcBef>
          <a:spcPct val="0"/>
        </a:spcBef>
        <a:spcAft>
          <a:spcPct val="0"/>
        </a:spcAft>
        <a:defRPr sz="4800">
          <a:solidFill>
            <a:schemeClr val="tx1"/>
          </a:solidFill>
          <a:latin typeface="Segoe UI" pitchFamily="34" charset="0"/>
          <a:cs typeface="Arial" charset="0"/>
        </a:defRPr>
      </a:lvl3pPr>
      <a:lvl4pPr algn="l" defTabSz="912813" rtl="0" eaLnBrk="1" fontAlgn="base" hangingPunct="1">
        <a:lnSpc>
          <a:spcPct val="90000"/>
        </a:lnSpc>
        <a:spcBef>
          <a:spcPct val="0"/>
        </a:spcBef>
        <a:spcAft>
          <a:spcPct val="0"/>
        </a:spcAft>
        <a:defRPr sz="4800">
          <a:solidFill>
            <a:schemeClr val="tx1"/>
          </a:solidFill>
          <a:latin typeface="Segoe UI" pitchFamily="34" charset="0"/>
          <a:cs typeface="Arial" charset="0"/>
        </a:defRPr>
      </a:lvl4pPr>
      <a:lvl5pPr algn="l" defTabSz="912813" rtl="0" eaLnBrk="1" fontAlgn="base" hangingPunct="1">
        <a:lnSpc>
          <a:spcPct val="90000"/>
        </a:lnSpc>
        <a:spcBef>
          <a:spcPct val="0"/>
        </a:spcBef>
        <a:spcAft>
          <a:spcPct val="0"/>
        </a:spcAft>
        <a:defRPr sz="4800">
          <a:solidFill>
            <a:schemeClr val="tx1"/>
          </a:solidFill>
          <a:latin typeface="Segoe UI" pitchFamily="34" charset="0"/>
          <a:cs typeface="Arial" charset="0"/>
        </a:defRPr>
      </a:lvl5pPr>
      <a:lvl6pPr marL="457200" algn="l" defTabSz="912813" rtl="0" eaLnBrk="1" fontAlgn="base" hangingPunct="1">
        <a:lnSpc>
          <a:spcPct val="90000"/>
        </a:lnSpc>
        <a:spcBef>
          <a:spcPct val="0"/>
        </a:spcBef>
        <a:spcAft>
          <a:spcPct val="0"/>
        </a:spcAft>
        <a:defRPr sz="4800">
          <a:solidFill>
            <a:schemeClr val="tx1"/>
          </a:solidFill>
          <a:latin typeface="Segoe UI" pitchFamily="34" charset="0"/>
          <a:cs typeface="Arial" charset="0"/>
        </a:defRPr>
      </a:lvl6pPr>
      <a:lvl7pPr marL="914400" algn="l" defTabSz="912813" rtl="0" eaLnBrk="1" fontAlgn="base" hangingPunct="1">
        <a:lnSpc>
          <a:spcPct val="90000"/>
        </a:lnSpc>
        <a:spcBef>
          <a:spcPct val="0"/>
        </a:spcBef>
        <a:spcAft>
          <a:spcPct val="0"/>
        </a:spcAft>
        <a:defRPr sz="4800">
          <a:solidFill>
            <a:schemeClr val="tx1"/>
          </a:solidFill>
          <a:latin typeface="Segoe UI" pitchFamily="34" charset="0"/>
          <a:cs typeface="Arial" charset="0"/>
        </a:defRPr>
      </a:lvl7pPr>
      <a:lvl8pPr marL="1371600" algn="l" defTabSz="912813" rtl="0" eaLnBrk="1" fontAlgn="base" hangingPunct="1">
        <a:lnSpc>
          <a:spcPct val="90000"/>
        </a:lnSpc>
        <a:spcBef>
          <a:spcPct val="0"/>
        </a:spcBef>
        <a:spcAft>
          <a:spcPct val="0"/>
        </a:spcAft>
        <a:defRPr sz="4800">
          <a:solidFill>
            <a:schemeClr val="tx1"/>
          </a:solidFill>
          <a:latin typeface="Segoe UI" pitchFamily="34" charset="0"/>
          <a:cs typeface="Arial" charset="0"/>
        </a:defRPr>
      </a:lvl8pPr>
      <a:lvl9pPr marL="1828800" algn="l" defTabSz="912813" rtl="0" eaLnBrk="1" fontAlgn="base" hangingPunct="1">
        <a:lnSpc>
          <a:spcPct val="90000"/>
        </a:lnSpc>
        <a:spcBef>
          <a:spcPct val="0"/>
        </a:spcBef>
        <a:spcAft>
          <a:spcPct val="0"/>
        </a:spcAft>
        <a:defRPr sz="4800">
          <a:solidFill>
            <a:schemeClr val="tx1"/>
          </a:solidFill>
          <a:latin typeface="Segoe UI" pitchFamily="34" charset="0"/>
          <a:cs typeface="Arial" charset="0"/>
        </a:defRPr>
      </a:lvl9pPr>
    </p:titleStyle>
    <p:bodyStyle>
      <a:lvl1pPr marL="398463" indent="-398463" algn="l" defTabSz="912813" rtl="0" eaLnBrk="1" fontAlgn="base" hangingPunct="1">
        <a:lnSpc>
          <a:spcPct val="90000"/>
        </a:lnSpc>
        <a:spcBef>
          <a:spcPct val="20000"/>
        </a:spcBef>
        <a:spcAft>
          <a:spcPct val="0"/>
        </a:spcAft>
        <a:buSzPct val="90000"/>
        <a:buBlip>
          <a:blip r:embed="rId21"/>
        </a:buBlip>
        <a:defRPr sz="3200" kern="1200">
          <a:gradFill>
            <a:gsLst>
              <a:gs pos="0">
                <a:schemeClr val="tx1"/>
              </a:gs>
              <a:gs pos="86000">
                <a:schemeClr val="tx1"/>
              </a:gs>
            </a:gsLst>
            <a:lin ang="5400000" scaled="0"/>
          </a:gradFill>
          <a:latin typeface="+mn-lt"/>
          <a:ea typeface="+mn-ea"/>
          <a:cs typeface="+mn-cs"/>
        </a:defRPr>
      </a:lvl1pPr>
      <a:lvl2pPr marL="747713" indent="-349250" algn="l" defTabSz="912813" rtl="0" eaLnBrk="1" fontAlgn="base" hangingPunct="1">
        <a:lnSpc>
          <a:spcPct val="90000"/>
        </a:lnSpc>
        <a:spcBef>
          <a:spcPct val="20000"/>
        </a:spcBef>
        <a:spcAft>
          <a:spcPct val="0"/>
        </a:spcAft>
        <a:buSzPct val="90000"/>
        <a:buBlip>
          <a:blip r:embed="rId22"/>
        </a:buBlip>
        <a:defRPr sz="2800" kern="1200">
          <a:gradFill>
            <a:gsLst>
              <a:gs pos="0">
                <a:schemeClr val="tx1"/>
              </a:gs>
              <a:gs pos="86000">
                <a:schemeClr val="tx1"/>
              </a:gs>
            </a:gsLst>
            <a:lin ang="5400000" scaled="0"/>
          </a:gradFill>
          <a:latin typeface="+mn-lt"/>
          <a:ea typeface="+mn-ea"/>
          <a:cs typeface="+mn-cs"/>
        </a:defRPr>
      </a:lvl2pPr>
      <a:lvl3pPr marL="1081088" indent="-333375" algn="l" defTabSz="912813" rtl="0" eaLnBrk="1" fontAlgn="base" hangingPunct="1">
        <a:lnSpc>
          <a:spcPct val="90000"/>
        </a:lnSpc>
        <a:spcBef>
          <a:spcPct val="20000"/>
        </a:spcBef>
        <a:spcAft>
          <a:spcPct val="0"/>
        </a:spcAft>
        <a:buSzPct val="90000"/>
        <a:buBlip>
          <a:blip r:embed="rId22"/>
        </a:buBlip>
        <a:defRPr sz="2400" kern="1200">
          <a:gradFill>
            <a:gsLst>
              <a:gs pos="0">
                <a:schemeClr val="tx1"/>
              </a:gs>
              <a:gs pos="86000">
                <a:schemeClr val="tx1"/>
              </a:gs>
            </a:gsLst>
            <a:lin ang="5400000" scaled="0"/>
          </a:gradFill>
          <a:latin typeface="+mn-lt"/>
          <a:ea typeface="+mn-ea"/>
          <a:cs typeface="+mn-cs"/>
        </a:defRPr>
      </a:lvl3pPr>
      <a:lvl4pPr marL="1379538" indent="-298450" algn="l" defTabSz="912813" rtl="0" eaLnBrk="1" fontAlgn="base" hangingPunct="1">
        <a:lnSpc>
          <a:spcPct val="90000"/>
        </a:lnSpc>
        <a:spcBef>
          <a:spcPct val="20000"/>
        </a:spcBef>
        <a:spcAft>
          <a:spcPct val="0"/>
        </a:spcAft>
        <a:buSzPct val="90000"/>
        <a:buBlip>
          <a:blip r:embed="rId22"/>
        </a:buBlip>
        <a:defRPr sz="2000" kern="1200">
          <a:gradFill>
            <a:gsLst>
              <a:gs pos="0">
                <a:schemeClr val="tx1"/>
              </a:gs>
              <a:gs pos="86000">
                <a:schemeClr val="tx1"/>
              </a:gs>
            </a:gsLst>
            <a:lin ang="5400000" scaled="0"/>
          </a:gradFill>
          <a:latin typeface="+mn-lt"/>
          <a:ea typeface="+mn-ea"/>
          <a:cs typeface="+mn-cs"/>
        </a:defRPr>
      </a:lvl4pPr>
      <a:lvl5pPr marL="1662113" indent="-282575" algn="l" defTabSz="912813" rtl="0" eaLnBrk="1" fontAlgn="base" hangingPunct="1">
        <a:lnSpc>
          <a:spcPct val="90000"/>
        </a:lnSpc>
        <a:spcBef>
          <a:spcPct val="20000"/>
        </a:spcBef>
        <a:spcAft>
          <a:spcPct val="0"/>
        </a:spcAft>
        <a:buSzPct val="90000"/>
        <a:buBlip>
          <a:blip r:embed="rId22"/>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1.xml"/><Relationship Id="rId5" Type="http://schemas.openxmlformats.org/officeDocument/2006/relationships/image" Target="../media/image52.png"/><Relationship Id="rId4" Type="http://schemas.openxmlformats.org/officeDocument/2006/relationships/image" Target="../media/image51.png"/></Relationships>
</file>

<file path=ppt/slides/_rels/slide1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69.xml"/></Relationships>
</file>

<file path=ppt/slides/_rels/slide11.xml.rels><?xml version="1.0" encoding="UTF-8" standalone="yes"?>
<Relationships xmlns="http://schemas.openxmlformats.org/package/2006/relationships"><Relationship Id="rId8" Type="http://schemas.openxmlformats.org/officeDocument/2006/relationships/image" Target="../media/image64.png"/><Relationship Id="rId13" Type="http://schemas.openxmlformats.org/officeDocument/2006/relationships/image" Target="../media/image69.png"/><Relationship Id="rId18" Type="http://schemas.openxmlformats.org/officeDocument/2006/relationships/image" Target="../media/image74.png"/><Relationship Id="rId26" Type="http://schemas.openxmlformats.org/officeDocument/2006/relationships/image" Target="../media/image82.png"/><Relationship Id="rId3" Type="http://schemas.openxmlformats.org/officeDocument/2006/relationships/image" Target="../media/image59.png"/><Relationship Id="rId21" Type="http://schemas.openxmlformats.org/officeDocument/2006/relationships/image" Target="../media/image77.jpeg"/><Relationship Id="rId7" Type="http://schemas.openxmlformats.org/officeDocument/2006/relationships/image" Target="../media/image63.png"/><Relationship Id="rId12" Type="http://schemas.openxmlformats.org/officeDocument/2006/relationships/image" Target="../media/image68.png"/><Relationship Id="rId17" Type="http://schemas.openxmlformats.org/officeDocument/2006/relationships/image" Target="../media/image73.png"/><Relationship Id="rId25" Type="http://schemas.openxmlformats.org/officeDocument/2006/relationships/image" Target="../media/image81.jpeg"/><Relationship Id="rId2" Type="http://schemas.openxmlformats.org/officeDocument/2006/relationships/notesSlide" Target="../notesSlides/notesSlide5.xml"/><Relationship Id="rId16" Type="http://schemas.openxmlformats.org/officeDocument/2006/relationships/image" Target="../media/image72.png"/><Relationship Id="rId20" Type="http://schemas.openxmlformats.org/officeDocument/2006/relationships/image" Target="../media/image76.gif"/><Relationship Id="rId1" Type="http://schemas.openxmlformats.org/officeDocument/2006/relationships/slideLayout" Target="../slideLayouts/slideLayout67.xml"/><Relationship Id="rId6" Type="http://schemas.openxmlformats.org/officeDocument/2006/relationships/image" Target="../media/image62.png"/><Relationship Id="rId11" Type="http://schemas.openxmlformats.org/officeDocument/2006/relationships/image" Target="../media/image67.png"/><Relationship Id="rId24" Type="http://schemas.openxmlformats.org/officeDocument/2006/relationships/image" Target="../media/image80.png"/><Relationship Id="rId5" Type="http://schemas.openxmlformats.org/officeDocument/2006/relationships/image" Target="../media/image61.png"/><Relationship Id="rId15" Type="http://schemas.openxmlformats.org/officeDocument/2006/relationships/image" Target="../media/image71.png"/><Relationship Id="rId23" Type="http://schemas.openxmlformats.org/officeDocument/2006/relationships/image" Target="../media/image79.jpg"/><Relationship Id="rId10" Type="http://schemas.openxmlformats.org/officeDocument/2006/relationships/image" Target="../media/image66.png"/><Relationship Id="rId19" Type="http://schemas.openxmlformats.org/officeDocument/2006/relationships/image" Target="../media/image75.jpg"/><Relationship Id="rId4" Type="http://schemas.openxmlformats.org/officeDocument/2006/relationships/image" Target="../media/image60.png"/><Relationship Id="rId9" Type="http://schemas.openxmlformats.org/officeDocument/2006/relationships/image" Target="../media/image65.png"/><Relationship Id="rId14" Type="http://schemas.openxmlformats.org/officeDocument/2006/relationships/image" Target="../media/image70.png"/><Relationship Id="rId22" Type="http://schemas.openxmlformats.org/officeDocument/2006/relationships/image" Target="../media/image78.jpeg"/><Relationship Id="rId27" Type="http://schemas.openxmlformats.org/officeDocument/2006/relationships/image" Target="../media/image83.png"/></Relationships>
</file>

<file path=ppt/slides/_rels/slide12.xml.rels><?xml version="1.0" encoding="UTF-8" standalone="yes"?>
<Relationships xmlns="http://schemas.openxmlformats.org/package/2006/relationships"><Relationship Id="rId8" Type="http://schemas.openxmlformats.org/officeDocument/2006/relationships/image" Target="../media/image63.png"/><Relationship Id="rId13" Type="http://schemas.openxmlformats.org/officeDocument/2006/relationships/image" Target="../media/image87.png"/><Relationship Id="rId3" Type="http://schemas.openxmlformats.org/officeDocument/2006/relationships/image" Target="../media/image84.png"/><Relationship Id="rId7" Type="http://schemas.openxmlformats.org/officeDocument/2006/relationships/image" Target="../media/image62.png"/><Relationship Id="rId12" Type="http://schemas.openxmlformats.org/officeDocument/2006/relationships/image" Target="../media/image66.png"/><Relationship Id="rId17" Type="http://schemas.openxmlformats.org/officeDocument/2006/relationships/image" Target="../media/image90.png"/><Relationship Id="rId2" Type="http://schemas.openxmlformats.org/officeDocument/2006/relationships/image" Target="../media/image59.png"/><Relationship Id="rId16" Type="http://schemas.openxmlformats.org/officeDocument/2006/relationships/image" Target="../media/image68.png"/><Relationship Id="rId1" Type="http://schemas.openxmlformats.org/officeDocument/2006/relationships/slideLayout" Target="../slideLayouts/slideLayout95.xml"/><Relationship Id="rId6" Type="http://schemas.openxmlformats.org/officeDocument/2006/relationships/image" Target="../media/image61.png"/><Relationship Id="rId11" Type="http://schemas.openxmlformats.org/officeDocument/2006/relationships/image" Target="../media/image65.png"/><Relationship Id="rId5" Type="http://schemas.openxmlformats.org/officeDocument/2006/relationships/image" Target="../media/image85.png"/><Relationship Id="rId15" Type="http://schemas.openxmlformats.org/officeDocument/2006/relationships/image" Target="../media/image89.png"/><Relationship Id="rId10" Type="http://schemas.openxmlformats.org/officeDocument/2006/relationships/image" Target="../media/image64.png"/><Relationship Id="rId4" Type="http://schemas.openxmlformats.org/officeDocument/2006/relationships/image" Target="../media/image60.png"/><Relationship Id="rId9" Type="http://schemas.openxmlformats.org/officeDocument/2006/relationships/image" Target="../media/image86.png"/><Relationship Id="rId14" Type="http://schemas.openxmlformats.org/officeDocument/2006/relationships/image" Target="../media/image88.png"/></Relationships>
</file>

<file path=ppt/slides/_rels/slide13.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6.xml"/><Relationship Id="rId1" Type="http://schemas.openxmlformats.org/officeDocument/2006/relationships/slideLayout" Target="../slideLayouts/slideLayout81.xml"/></Relationships>
</file>

<file path=ppt/slides/_rels/slide14.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7.xml"/><Relationship Id="rId1" Type="http://schemas.openxmlformats.org/officeDocument/2006/relationships/slideLayout" Target="../slideLayouts/slideLayout8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96.xml"/></Relationships>
</file>

<file path=ppt/slides/_rels/slide17.xml.rels><?xml version="1.0" encoding="UTF-8" standalone="yes"?>
<Relationships xmlns="http://schemas.openxmlformats.org/package/2006/relationships"><Relationship Id="rId3" Type="http://schemas.openxmlformats.org/officeDocument/2006/relationships/image" Target="../media/image93.emf"/><Relationship Id="rId2" Type="http://schemas.openxmlformats.org/officeDocument/2006/relationships/notesSlide" Target="../notesSlides/notesSlide9.xml"/><Relationship Id="rId1" Type="http://schemas.openxmlformats.org/officeDocument/2006/relationships/slideLayout" Target="../slideLayouts/slideLayout96.xml"/><Relationship Id="rId4" Type="http://schemas.openxmlformats.org/officeDocument/2006/relationships/image" Target="../media/image94.emf"/></Relationships>
</file>

<file path=ppt/slides/_rels/slide18.xml.rels><?xml version="1.0" encoding="UTF-8" standalone="yes"?>
<Relationships xmlns="http://schemas.openxmlformats.org/package/2006/relationships"><Relationship Id="rId3" Type="http://schemas.openxmlformats.org/officeDocument/2006/relationships/image" Target="../media/image93.emf"/><Relationship Id="rId2" Type="http://schemas.openxmlformats.org/officeDocument/2006/relationships/notesSlide" Target="../notesSlides/notesSlide10.xml"/><Relationship Id="rId1" Type="http://schemas.openxmlformats.org/officeDocument/2006/relationships/slideLayout" Target="../slideLayouts/slideLayout96.xml"/><Relationship Id="rId4" Type="http://schemas.openxmlformats.org/officeDocument/2006/relationships/image" Target="../media/image94.emf"/></Relationships>
</file>

<file path=ppt/slides/_rels/slide19.xml.rels><?xml version="1.0" encoding="UTF-8" standalone="yes"?>
<Relationships xmlns="http://schemas.openxmlformats.org/package/2006/relationships"><Relationship Id="rId3" Type="http://schemas.openxmlformats.org/officeDocument/2006/relationships/image" Target="../media/image93.emf"/><Relationship Id="rId2" Type="http://schemas.openxmlformats.org/officeDocument/2006/relationships/notesSlide" Target="../notesSlides/notesSlide11.xml"/><Relationship Id="rId1" Type="http://schemas.openxmlformats.org/officeDocument/2006/relationships/slideLayout" Target="../slideLayouts/slideLayout96.xml"/><Relationship Id="rId4" Type="http://schemas.openxmlformats.org/officeDocument/2006/relationships/image" Target="../media/image94.emf"/></Relationships>
</file>

<file path=ppt/slides/_rels/slide2.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96.xml"/></Relationships>
</file>

<file path=ppt/slides/_rels/slide21.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Layout" Target="../slideLayouts/slideLayout9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01.xml"/></Relationships>
</file>

<file path=ppt/slides/_rels/slide23.xml.rels><?xml version="1.0" encoding="UTF-8" standalone="yes"?>
<Relationships xmlns="http://schemas.openxmlformats.org/package/2006/relationships"><Relationship Id="rId8" Type="http://schemas.openxmlformats.org/officeDocument/2006/relationships/image" Target="../media/image101.emf"/><Relationship Id="rId13" Type="http://schemas.openxmlformats.org/officeDocument/2006/relationships/image" Target="../media/image106.emf"/><Relationship Id="rId18" Type="http://schemas.openxmlformats.org/officeDocument/2006/relationships/image" Target="../media/image111.emf"/><Relationship Id="rId3" Type="http://schemas.openxmlformats.org/officeDocument/2006/relationships/image" Target="../media/image96.emf"/><Relationship Id="rId21" Type="http://schemas.openxmlformats.org/officeDocument/2006/relationships/image" Target="../media/image114.emf"/><Relationship Id="rId7" Type="http://schemas.openxmlformats.org/officeDocument/2006/relationships/image" Target="../media/image100.emf"/><Relationship Id="rId12" Type="http://schemas.openxmlformats.org/officeDocument/2006/relationships/image" Target="../media/image105.png"/><Relationship Id="rId17" Type="http://schemas.openxmlformats.org/officeDocument/2006/relationships/image" Target="../media/image110.emf"/><Relationship Id="rId2" Type="http://schemas.openxmlformats.org/officeDocument/2006/relationships/image" Target="../media/image95.emf"/><Relationship Id="rId16" Type="http://schemas.openxmlformats.org/officeDocument/2006/relationships/image" Target="../media/image109.emf"/><Relationship Id="rId20" Type="http://schemas.openxmlformats.org/officeDocument/2006/relationships/image" Target="../media/image113.emf"/><Relationship Id="rId1" Type="http://schemas.openxmlformats.org/officeDocument/2006/relationships/slideLayout" Target="../slideLayouts/slideLayout116.xml"/><Relationship Id="rId6" Type="http://schemas.openxmlformats.org/officeDocument/2006/relationships/image" Target="../media/image99.emf"/><Relationship Id="rId11" Type="http://schemas.openxmlformats.org/officeDocument/2006/relationships/image" Target="../media/image104.emf"/><Relationship Id="rId24" Type="http://schemas.openxmlformats.org/officeDocument/2006/relationships/image" Target="../media/image117.emf"/><Relationship Id="rId5" Type="http://schemas.openxmlformats.org/officeDocument/2006/relationships/image" Target="../media/image98.emf"/><Relationship Id="rId15" Type="http://schemas.openxmlformats.org/officeDocument/2006/relationships/image" Target="../media/image108.emf"/><Relationship Id="rId23" Type="http://schemas.openxmlformats.org/officeDocument/2006/relationships/image" Target="../media/image116.emf"/><Relationship Id="rId10" Type="http://schemas.openxmlformats.org/officeDocument/2006/relationships/image" Target="../media/image103.emf"/><Relationship Id="rId19" Type="http://schemas.openxmlformats.org/officeDocument/2006/relationships/image" Target="../media/image112.emf"/><Relationship Id="rId4" Type="http://schemas.openxmlformats.org/officeDocument/2006/relationships/image" Target="../media/image97.emf"/><Relationship Id="rId9" Type="http://schemas.openxmlformats.org/officeDocument/2006/relationships/image" Target="../media/image102.emf"/><Relationship Id="rId14" Type="http://schemas.openxmlformats.org/officeDocument/2006/relationships/image" Target="../media/image107.emf"/><Relationship Id="rId22" Type="http://schemas.openxmlformats.org/officeDocument/2006/relationships/image" Target="../media/image115.emf"/></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17.xml"/></Relationships>
</file>

<file path=ppt/slides/_rels/slide25.xml.rels><?xml version="1.0" encoding="UTF-8" standalone="yes"?>
<Relationships xmlns="http://schemas.openxmlformats.org/package/2006/relationships"><Relationship Id="rId2" Type="http://schemas.openxmlformats.org/officeDocument/2006/relationships/image" Target="../media/image118.png"/><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jpg"/><Relationship Id="rId1"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3" Type="http://schemas.openxmlformats.org/officeDocument/2006/relationships/image" Target="../media/image119.jpg"/><Relationship Id="rId2" Type="http://schemas.openxmlformats.org/officeDocument/2006/relationships/notesSlide" Target="../notesSlides/notesSlide13.xml"/><Relationship Id="rId1" Type="http://schemas.openxmlformats.org/officeDocument/2006/relationships/slideLayout" Target="../slideLayouts/slideLayout128.xml"/></Relationships>
</file>

<file path=ppt/slides/_rels/slide34.xml.rels><?xml version="1.0" encoding="UTF-8" standalone="yes"?>
<Relationships xmlns="http://schemas.openxmlformats.org/package/2006/relationships"><Relationship Id="rId3" Type="http://schemas.openxmlformats.org/officeDocument/2006/relationships/image" Target="../media/image120.gif"/><Relationship Id="rId2" Type="http://schemas.openxmlformats.org/officeDocument/2006/relationships/notesSlide" Target="../notesSlides/notesSlide14.xml"/><Relationship Id="rId1" Type="http://schemas.openxmlformats.org/officeDocument/2006/relationships/slideLayout" Target="../slideLayouts/slideLayout128.xml"/></Relationships>
</file>

<file path=ppt/slides/_rels/slide35.xml.rels><?xml version="1.0" encoding="UTF-8" standalone="yes"?>
<Relationships xmlns="http://schemas.openxmlformats.org/package/2006/relationships"><Relationship Id="rId3" Type="http://schemas.openxmlformats.org/officeDocument/2006/relationships/image" Target="../media/image121.jpg"/><Relationship Id="rId2" Type="http://schemas.openxmlformats.org/officeDocument/2006/relationships/notesSlide" Target="../notesSlides/notesSlide15.xml"/><Relationship Id="rId1" Type="http://schemas.openxmlformats.org/officeDocument/2006/relationships/slideLayout" Target="../slideLayouts/slideLayout128.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28.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28.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2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28.xm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xml"/><Relationship Id="rId1" Type="http://schemas.openxmlformats.org/officeDocument/2006/relationships/slideLayout" Target="../slideLayouts/slideLayout139.xml"/><Relationship Id="rId4" Type="http://schemas.openxmlformats.org/officeDocument/2006/relationships/image" Target="../media/image56.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2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2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2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28.xml"/></Relationships>
</file>

<file path=ppt/slides/_rels/slide44.xml.rels><?xml version="1.0" encoding="UTF-8" standalone="yes"?>
<Relationships xmlns="http://schemas.openxmlformats.org/package/2006/relationships"><Relationship Id="rId2" Type="http://schemas.openxmlformats.org/officeDocument/2006/relationships/image" Target="../media/image122.png"/><Relationship Id="rId1" Type="http://schemas.openxmlformats.org/officeDocument/2006/relationships/slideLayout" Target="../slideLayouts/slideLayout128.xml"/></Relationships>
</file>

<file path=ppt/slides/_rels/slide45.xml.rels><?xml version="1.0" encoding="UTF-8" standalone="yes"?>
<Relationships xmlns="http://schemas.openxmlformats.org/package/2006/relationships"><Relationship Id="rId2" Type="http://schemas.openxmlformats.org/officeDocument/2006/relationships/image" Target="../media/image123.png"/><Relationship Id="rId1" Type="http://schemas.openxmlformats.org/officeDocument/2006/relationships/slideLayout" Target="../slideLayouts/slideLayout128.xml"/></Relationships>
</file>

<file path=ppt/slides/_rels/slide46.xml.rels><?xml version="1.0" encoding="UTF-8" standalone="yes"?>
<Relationships xmlns="http://schemas.openxmlformats.org/package/2006/relationships"><Relationship Id="rId2" Type="http://schemas.openxmlformats.org/officeDocument/2006/relationships/image" Target="../media/image124.png"/><Relationship Id="rId1" Type="http://schemas.openxmlformats.org/officeDocument/2006/relationships/slideLayout" Target="../slideLayouts/slideLayout128.xml"/></Relationships>
</file>

<file path=ppt/slides/_rels/slide47.xml.rels><?xml version="1.0" encoding="UTF-8" standalone="yes"?>
<Relationships xmlns="http://schemas.openxmlformats.org/package/2006/relationships"><Relationship Id="rId3" Type="http://schemas.openxmlformats.org/officeDocument/2006/relationships/image" Target="../media/image125.emf"/><Relationship Id="rId2" Type="http://schemas.openxmlformats.org/officeDocument/2006/relationships/notesSlide" Target="../notesSlides/notesSlide16.xml"/><Relationship Id="rId1" Type="http://schemas.openxmlformats.org/officeDocument/2006/relationships/slideLayout" Target="../slideLayouts/slideLayout128.xml"/><Relationship Id="rId5" Type="http://schemas.openxmlformats.org/officeDocument/2006/relationships/image" Target="../media/image127.jpeg"/><Relationship Id="rId4" Type="http://schemas.openxmlformats.org/officeDocument/2006/relationships/image" Target="../media/image126.gif"/></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28.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28.xml"/></Relationships>
</file>

<file path=ppt/slides/_rels/slide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xml"/><Relationship Id="rId1" Type="http://schemas.openxmlformats.org/officeDocument/2006/relationships/slideLayout" Target="../slideLayouts/slideLayout139.xml"/></Relationships>
</file>

<file path=ppt/slides/_rels/slide50.xml.rels><?xml version="1.0" encoding="UTF-8" standalone="yes"?>
<Relationships xmlns="http://schemas.openxmlformats.org/package/2006/relationships"><Relationship Id="rId3" Type="http://schemas.openxmlformats.org/officeDocument/2006/relationships/image" Target="../media/image125.emf"/><Relationship Id="rId2" Type="http://schemas.openxmlformats.org/officeDocument/2006/relationships/notesSlide" Target="../notesSlides/notesSlide17.xml"/><Relationship Id="rId1" Type="http://schemas.openxmlformats.org/officeDocument/2006/relationships/slideLayout" Target="../slideLayouts/slideLayout128.xml"/><Relationship Id="rId5" Type="http://schemas.openxmlformats.org/officeDocument/2006/relationships/image" Target="../media/image128.png"/><Relationship Id="rId4" Type="http://schemas.openxmlformats.org/officeDocument/2006/relationships/image" Target="../media/image126.gif"/></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28.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28.xml"/></Relationships>
</file>

<file path=ppt/slides/_rels/slide53.xml.rels><?xml version="1.0" encoding="UTF-8" standalone="yes"?>
<Relationships xmlns="http://schemas.openxmlformats.org/package/2006/relationships"><Relationship Id="rId3" Type="http://schemas.openxmlformats.org/officeDocument/2006/relationships/image" Target="../media/image125.emf"/><Relationship Id="rId2" Type="http://schemas.openxmlformats.org/officeDocument/2006/relationships/notesSlide" Target="../notesSlides/notesSlide18.xml"/><Relationship Id="rId1" Type="http://schemas.openxmlformats.org/officeDocument/2006/relationships/slideLayout" Target="../slideLayouts/slideLayout128.xml"/><Relationship Id="rId6" Type="http://schemas.openxmlformats.org/officeDocument/2006/relationships/image" Target="../media/image128.png"/><Relationship Id="rId5" Type="http://schemas.openxmlformats.org/officeDocument/2006/relationships/image" Target="../media/image126.gif"/><Relationship Id="rId4" Type="http://schemas.openxmlformats.org/officeDocument/2006/relationships/image" Target="../media/image129.png"/></Relationships>
</file>

<file path=ppt/slides/_rels/slide54.xml.rels><?xml version="1.0" encoding="UTF-8" standalone="yes"?>
<Relationships xmlns="http://schemas.openxmlformats.org/package/2006/relationships"><Relationship Id="rId2" Type="http://schemas.openxmlformats.org/officeDocument/2006/relationships/image" Target="../media/image130.jpeg"/><Relationship Id="rId1" Type="http://schemas.openxmlformats.org/officeDocument/2006/relationships/slideLayout" Target="../slideLayouts/slideLayout128.xml"/></Relationships>
</file>

<file path=ppt/slides/_rels/slide55.xml.rels><?xml version="1.0" encoding="UTF-8" standalone="yes"?>
<Relationships xmlns="http://schemas.openxmlformats.org/package/2006/relationships"><Relationship Id="rId3" Type="http://schemas.openxmlformats.org/officeDocument/2006/relationships/image" Target="../media/image131.jpg"/><Relationship Id="rId2" Type="http://schemas.openxmlformats.org/officeDocument/2006/relationships/notesSlide" Target="../notesSlides/notesSlide19.xml"/><Relationship Id="rId1" Type="http://schemas.openxmlformats.org/officeDocument/2006/relationships/slideLayout" Target="../slideLayouts/slideLayout128.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28.xml"/></Relationships>
</file>

<file path=ppt/slides/_rels/slide57.xml.rels><?xml version="1.0" encoding="UTF-8" standalone="yes"?>
<Relationships xmlns="http://schemas.openxmlformats.org/package/2006/relationships"><Relationship Id="rId2" Type="http://schemas.openxmlformats.org/officeDocument/2006/relationships/image" Target="../media/image132.jpg"/><Relationship Id="rId1" Type="http://schemas.openxmlformats.org/officeDocument/2006/relationships/slideLayout" Target="../slideLayouts/slideLayout126.xml"/></Relationships>
</file>

<file path=ppt/slides/_rels/slide58.xml.rels><?xml version="1.0" encoding="UTF-8" standalone="yes"?>
<Relationships xmlns="http://schemas.openxmlformats.org/package/2006/relationships"><Relationship Id="rId3" Type="http://schemas.openxmlformats.org/officeDocument/2006/relationships/image" Target="../media/image133.jpg"/><Relationship Id="rId2" Type="http://schemas.openxmlformats.org/officeDocument/2006/relationships/notesSlide" Target="../notesSlides/notesSlide21.xml"/><Relationship Id="rId1" Type="http://schemas.openxmlformats.org/officeDocument/2006/relationships/slideLayout" Target="../slideLayouts/slideLayout15.xml"/></Relationships>
</file>

<file path=ppt/slides/_rels/slide59.xml.rels><?xml version="1.0" encoding="UTF-8" standalone="yes"?>
<Relationships xmlns="http://schemas.openxmlformats.org/package/2006/relationships"><Relationship Id="rId3" Type="http://schemas.openxmlformats.org/officeDocument/2006/relationships/hyperlink" Target="https://twitter.com/abokov/status/585493702308683779" TargetMode="External"/><Relationship Id="rId2" Type="http://schemas.openxmlformats.org/officeDocument/2006/relationships/notesSlide" Target="../notesSlides/notesSlide22.xml"/><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155.xml"/></Relationships>
</file>

<file path=ppt/slides/_rels/slide60.xml.rels><?xml version="1.0" encoding="UTF-8" standalone="yes"?>
<Relationships xmlns="http://schemas.openxmlformats.org/package/2006/relationships"><Relationship Id="rId3" Type="http://schemas.openxmlformats.org/officeDocument/2006/relationships/hyperlink" Target="https://twitter.com/abokov/status/585493702308683779" TargetMode="External"/><Relationship Id="rId2" Type="http://schemas.openxmlformats.org/officeDocument/2006/relationships/notesSlide" Target="../notesSlides/notesSlide23.xml"/><Relationship Id="rId1" Type="http://schemas.openxmlformats.org/officeDocument/2006/relationships/slideLayout" Target="../slideLayouts/slideLayout15.xml"/></Relationships>
</file>

<file path=ppt/slides/_rels/slide61.xml.rels><?xml version="1.0" encoding="UTF-8" standalone="yes"?>
<Relationships xmlns="http://schemas.openxmlformats.org/package/2006/relationships"><Relationship Id="rId3" Type="http://schemas.openxmlformats.org/officeDocument/2006/relationships/image" Target="../media/image135.png"/><Relationship Id="rId7" Type="http://schemas.openxmlformats.org/officeDocument/2006/relationships/image" Target="../media/image138.jpeg"/><Relationship Id="rId2" Type="http://schemas.openxmlformats.org/officeDocument/2006/relationships/image" Target="../media/image134.png"/><Relationship Id="rId1" Type="http://schemas.openxmlformats.org/officeDocument/2006/relationships/slideLayout" Target="../slideLayouts/slideLayout16.xml"/><Relationship Id="rId6" Type="http://schemas.openxmlformats.org/officeDocument/2006/relationships/image" Target="../media/image137.png"/><Relationship Id="rId5" Type="http://schemas.openxmlformats.org/officeDocument/2006/relationships/image" Target="../media/image136.png"/><Relationship Id="rId4" Type="http://schemas.microsoft.com/office/2007/relationships/hdphoto" Target="../media/hdphoto5.wdp"/></Relationships>
</file>

<file path=ppt/slides/_rels/slide62.xml.rels><?xml version="1.0" encoding="UTF-8" standalone="yes"?>
<Relationships xmlns="http://schemas.openxmlformats.org/package/2006/relationships"><Relationship Id="rId2" Type="http://schemas.openxmlformats.org/officeDocument/2006/relationships/image" Target="../media/image139.png"/><Relationship Id="rId1" Type="http://schemas.openxmlformats.org/officeDocument/2006/relationships/slideLayout" Target="../slideLayouts/slideLayout15.xml"/></Relationships>
</file>

<file path=ppt/slides/_rels/slide63.xml.rels><?xml version="1.0" encoding="UTF-8" standalone="yes"?>
<Relationships xmlns="http://schemas.openxmlformats.org/package/2006/relationships"><Relationship Id="rId2" Type="http://schemas.openxmlformats.org/officeDocument/2006/relationships/image" Target="../media/image140.jpg"/><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3.xml"/><Relationship Id="rId1" Type="http://schemas.openxmlformats.org/officeDocument/2006/relationships/slideLayout" Target="../slideLayouts/slideLayout15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6334658" y="6082369"/>
            <a:ext cx="2361544" cy="584775"/>
          </a:xfrm>
          <a:prstGeom prst="rect">
            <a:avLst/>
          </a:prstGeom>
        </p:spPr>
        <p:txBody>
          <a:bodyPr wrap="none">
            <a:spAutoFit/>
          </a:bodyPr>
          <a:lstStyle/>
          <a:p>
            <a:pPr algn="ctr"/>
            <a:r>
              <a:rPr lang="en-US" sz="3200" dirty="0">
                <a:solidFill>
                  <a:schemeClr val="bg1">
                    <a:lumMod val="50000"/>
                  </a:schemeClr>
                </a:solidFill>
                <a:cs typeface="Segoe UI" panose="020B0502040204020203" pitchFamily="34" charset="0"/>
              </a:rPr>
              <a:t>#</a:t>
            </a:r>
            <a:r>
              <a:rPr lang="en-US" sz="3200" dirty="0" err="1">
                <a:solidFill>
                  <a:schemeClr val="bg1">
                    <a:lumMod val="50000"/>
                  </a:schemeClr>
                </a:solidFill>
                <a:cs typeface="Segoe UI" panose="020B0502040204020203" pitchFamily="34" charset="0"/>
              </a:rPr>
              <a:t>msdevtour</a:t>
            </a:r>
            <a:endParaRPr lang="ru-RU" sz="3200" dirty="0">
              <a:solidFill>
                <a:schemeClr val="bg1">
                  <a:lumMod val="50000"/>
                </a:schemeClr>
              </a:solidFill>
              <a:cs typeface="Segoe UI" panose="020B0502040204020203" pitchFamily="34" charset="0"/>
            </a:endParaRPr>
          </a:p>
        </p:txBody>
      </p:sp>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814294" y="5101007"/>
            <a:ext cx="742205" cy="603408"/>
          </a:xfrm>
          <a:prstGeom prst="rect">
            <a:avLst/>
          </a:prstGeom>
        </p:spPr>
      </p:pic>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796667" y="5057262"/>
            <a:ext cx="710409" cy="710409"/>
          </a:xfrm>
          <a:prstGeom prst="rect">
            <a:avLst/>
          </a:prstGeom>
        </p:spPr>
      </p:pic>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811783" y="5024093"/>
            <a:ext cx="762343" cy="762343"/>
          </a:xfrm>
          <a:prstGeom prst="rect">
            <a:avLst/>
          </a:prstGeom>
        </p:spPr>
      </p:pic>
      <p:pic>
        <p:nvPicPr>
          <p:cNvPr id="6" name="Picture 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747244" y="5057262"/>
            <a:ext cx="710409" cy="710409"/>
          </a:xfrm>
          <a:prstGeom prst="rect">
            <a:avLst/>
          </a:prstGeom>
        </p:spPr>
      </p:pic>
    </p:spTree>
    <p:extLst>
      <p:ext uri="{BB962C8B-B14F-4D97-AF65-F5344CB8AC3E}">
        <p14:creationId xmlns:p14="http://schemas.microsoft.com/office/powerpoint/2010/main" val="117376473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301083" y="65036"/>
            <a:ext cx="10624328" cy="6792964"/>
          </a:xfrm>
          <a:prstGeom prst="rect">
            <a:avLst/>
          </a:prstGeom>
        </p:spPr>
      </p:pic>
    </p:spTree>
    <p:extLst>
      <p:ext uri="{BB962C8B-B14F-4D97-AF65-F5344CB8AC3E}">
        <p14:creationId xmlns:p14="http://schemas.microsoft.com/office/powerpoint/2010/main" val="100435681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p:cNvSpPr/>
          <p:nvPr/>
        </p:nvSpPr>
        <p:spPr>
          <a:xfrm>
            <a:off x="-1" y="1719470"/>
            <a:ext cx="12192001" cy="49869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endParaRPr>
          </a:p>
        </p:txBody>
      </p:sp>
      <p:sp>
        <p:nvSpPr>
          <p:cNvPr id="28" name="AutoShape 2" descr="Home"/>
          <p:cNvSpPr>
            <a:spLocks noChangeAspect="1" noChangeArrowheads="1"/>
          </p:cNvSpPr>
          <p:nvPr/>
        </p:nvSpPr>
        <p:spPr bwMode="auto">
          <a:xfrm>
            <a:off x="152517" y="-141136"/>
            <a:ext cx="298808" cy="29880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a:defRPr/>
            </a:pPr>
            <a:endParaRPr lang="en-US" sz="1765">
              <a:solidFill>
                <a:srgbClr val="00B0F0"/>
              </a:solidFill>
            </a:endParaRPr>
          </a:p>
        </p:txBody>
      </p:sp>
      <p:pic>
        <p:nvPicPr>
          <p:cNvPr id="17" name="Picture 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84410" y="2714033"/>
            <a:ext cx="1223716" cy="540883"/>
          </a:xfrm>
          <a:prstGeom prst="rect">
            <a:avLst/>
          </a:prstGeom>
        </p:spPr>
      </p:pic>
      <p:pic>
        <p:nvPicPr>
          <p:cNvPr id="24" name="Picture 23"/>
          <p:cNvPicPr>
            <a:picLocks noChangeAspect="1"/>
          </p:cNvPicPr>
          <p:nvPr/>
        </p:nvPicPr>
        <p:blipFill>
          <a:blip r:embed="rId4"/>
          <a:stretch>
            <a:fillRect/>
          </a:stretch>
        </p:blipFill>
        <p:spPr>
          <a:xfrm>
            <a:off x="9706633" y="3488539"/>
            <a:ext cx="1245723" cy="895159"/>
          </a:xfrm>
          <a:prstGeom prst="rect">
            <a:avLst/>
          </a:prstGeom>
        </p:spPr>
      </p:pic>
      <p:pic>
        <p:nvPicPr>
          <p:cNvPr id="3" name="Picture 2"/>
          <p:cNvPicPr>
            <a:picLocks noChangeAspect="1"/>
          </p:cNvPicPr>
          <p:nvPr/>
        </p:nvPicPr>
        <p:blipFill>
          <a:blip r:embed="rId5"/>
          <a:stretch>
            <a:fillRect/>
          </a:stretch>
        </p:blipFill>
        <p:spPr>
          <a:xfrm>
            <a:off x="5039715" y="3615436"/>
            <a:ext cx="1158741" cy="445211"/>
          </a:xfrm>
          <a:prstGeom prst="rect">
            <a:avLst/>
          </a:prstGeom>
        </p:spPr>
      </p:pic>
      <p:pic>
        <p:nvPicPr>
          <p:cNvPr id="5" name="Picture 4"/>
          <p:cNvPicPr>
            <a:picLocks noChangeAspect="1"/>
          </p:cNvPicPr>
          <p:nvPr/>
        </p:nvPicPr>
        <p:blipFill>
          <a:blip r:embed="rId6"/>
          <a:stretch>
            <a:fillRect/>
          </a:stretch>
        </p:blipFill>
        <p:spPr>
          <a:xfrm>
            <a:off x="5029132" y="2075457"/>
            <a:ext cx="942233" cy="433765"/>
          </a:xfrm>
          <a:prstGeom prst="rect">
            <a:avLst/>
          </a:prstGeom>
        </p:spPr>
      </p:pic>
      <p:pic>
        <p:nvPicPr>
          <p:cNvPr id="6" name="Picture 5"/>
          <p:cNvPicPr>
            <a:picLocks noChangeAspect="1"/>
          </p:cNvPicPr>
          <p:nvPr/>
        </p:nvPicPr>
        <p:blipFill>
          <a:blip r:embed="rId7"/>
          <a:stretch>
            <a:fillRect/>
          </a:stretch>
        </p:blipFill>
        <p:spPr>
          <a:xfrm>
            <a:off x="633812" y="2721810"/>
            <a:ext cx="707034" cy="538007"/>
          </a:xfrm>
          <a:prstGeom prst="rect">
            <a:avLst/>
          </a:prstGeom>
        </p:spPr>
      </p:pic>
      <p:pic>
        <p:nvPicPr>
          <p:cNvPr id="8" name="Picture 7"/>
          <p:cNvPicPr>
            <a:picLocks noChangeAspect="1"/>
          </p:cNvPicPr>
          <p:nvPr/>
        </p:nvPicPr>
        <p:blipFill>
          <a:blip r:embed="rId8"/>
          <a:stretch>
            <a:fillRect/>
          </a:stretch>
        </p:blipFill>
        <p:spPr>
          <a:xfrm>
            <a:off x="633811" y="4599799"/>
            <a:ext cx="815535" cy="554218"/>
          </a:xfrm>
          <a:prstGeom prst="rect">
            <a:avLst/>
          </a:prstGeom>
        </p:spPr>
      </p:pic>
      <p:pic>
        <p:nvPicPr>
          <p:cNvPr id="9" name="Picture 8"/>
          <p:cNvPicPr>
            <a:picLocks noChangeAspect="1"/>
          </p:cNvPicPr>
          <p:nvPr/>
        </p:nvPicPr>
        <p:blipFill>
          <a:blip r:embed="rId9"/>
          <a:stretch>
            <a:fillRect/>
          </a:stretch>
        </p:blipFill>
        <p:spPr>
          <a:xfrm>
            <a:off x="2341957" y="4744519"/>
            <a:ext cx="1731930" cy="416651"/>
          </a:xfrm>
          <a:prstGeom prst="rect">
            <a:avLst/>
          </a:prstGeom>
        </p:spPr>
      </p:pic>
      <p:pic>
        <p:nvPicPr>
          <p:cNvPr id="10" name="Picture 9"/>
          <p:cNvPicPr>
            <a:picLocks noChangeAspect="1"/>
          </p:cNvPicPr>
          <p:nvPr/>
        </p:nvPicPr>
        <p:blipFill>
          <a:blip r:embed="rId10"/>
          <a:stretch>
            <a:fillRect/>
          </a:stretch>
        </p:blipFill>
        <p:spPr>
          <a:xfrm>
            <a:off x="7044246" y="3680278"/>
            <a:ext cx="1703415" cy="481190"/>
          </a:xfrm>
          <a:prstGeom prst="rect">
            <a:avLst/>
          </a:prstGeom>
        </p:spPr>
      </p:pic>
      <p:pic>
        <p:nvPicPr>
          <p:cNvPr id="13" name="Picture 12"/>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145996" y="2070456"/>
            <a:ext cx="2080743" cy="292768"/>
          </a:xfrm>
          <a:prstGeom prst="rect">
            <a:avLst/>
          </a:prstGeom>
        </p:spPr>
      </p:pic>
      <p:pic>
        <p:nvPicPr>
          <p:cNvPr id="20" name="Picture 19"/>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7037603" y="1970932"/>
            <a:ext cx="1778885" cy="440751"/>
          </a:xfrm>
          <a:prstGeom prst="rect">
            <a:avLst/>
          </a:prstGeom>
        </p:spPr>
      </p:pic>
      <p:pic>
        <p:nvPicPr>
          <p:cNvPr id="12" name="Picture 11"/>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744100" y="3489260"/>
            <a:ext cx="598954" cy="646144"/>
          </a:xfrm>
          <a:prstGeom prst="rect">
            <a:avLst/>
          </a:prstGeom>
        </p:spPr>
      </p:pic>
      <p:pic>
        <p:nvPicPr>
          <p:cNvPr id="19" name="Picture 18"/>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7090973" y="5733536"/>
            <a:ext cx="1753190" cy="503165"/>
          </a:xfrm>
          <a:prstGeom prst="rect">
            <a:avLst/>
          </a:prstGeom>
        </p:spPr>
      </p:pic>
      <p:pic>
        <p:nvPicPr>
          <p:cNvPr id="22" name="Picture 21"/>
          <p:cNvPicPr>
            <a:picLocks noChangeAspect="1"/>
          </p:cNvPicPr>
          <p:nvPr/>
        </p:nvPicPr>
        <p:blipFill>
          <a:blip r:embed="rId15"/>
          <a:stretch>
            <a:fillRect/>
          </a:stretch>
        </p:blipFill>
        <p:spPr>
          <a:xfrm>
            <a:off x="9756328" y="1963189"/>
            <a:ext cx="1091933" cy="529422"/>
          </a:xfrm>
          <a:prstGeom prst="rect">
            <a:avLst/>
          </a:prstGeom>
        </p:spPr>
      </p:pic>
      <p:pic>
        <p:nvPicPr>
          <p:cNvPr id="23" name="Picture 22"/>
          <p:cNvPicPr>
            <a:picLocks noChangeAspect="1"/>
          </p:cNvPicPr>
          <p:nvPr/>
        </p:nvPicPr>
        <p:blipFill>
          <a:blip r:embed="rId16"/>
          <a:stretch>
            <a:fillRect/>
          </a:stretch>
        </p:blipFill>
        <p:spPr>
          <a:xfrm>
            <a:off x="2337271" y="5844932"/>
            <a:ext cx="1672458" cy="379647"/>
          </a:xfrm>
          <a:prstGeom prst="rect">
            <a:avLst/>
          </a:prstGeom>
        </p:spPr>
      </p:pic>
      <p:pic>
        <p:nvPicPr>
          <p:cNvPr id="26" name="Picture 25"/>
          <p:cNvPicPr>
            <a:picLocks noChangeAspect="1"/>
          </p:cNvPicPr>
          <p:nvPr/>
        </p:nvPicPr>
        <p:blipFill>
          <a:blip r:embed="rId17"/>
          <a:stretch>
            <a:fillRect/>
          </a:stretch>
        </p:blipFill>
        <p:spPr>
          <a:xfrm>
            <a:off x="9419417" y="4798879"/>
            <a:ext cx="1640374" cy="567822"/>
          </a:xfrm>
          <a:prstGeom prst="rect">
            <a:avLst/>
          </a:prstGeom>
        </p:spPr>
      </p:pic>
      <p:pic>
        <p:nvPicPr>
          <p:cNvPr id="27" name="Picture 26"/>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633810" y="5618412"/>
            <a:ext cx="815536" cy="819176"/>
          </a:xfrm>
          <a:prstGeom prst="rect">
            <a:avLst/>
          </a:prstGeom>
        </p:spPr>
      </p:pic>
      <p:pic>
        <p:nvPicPr>
          <p:cNvPr id="29" name="Picture 28"/>
          <p:cNvPicPr>
            <a:picLocks noChangeAspect="1"/>
          </p:cNvPicPr>
          <p:nvPr/>
        </p:nvPicPr>
        <p:blipFill rotWithShape="1">
          <a:blip r:embed="rId19">
            <a:extLst>
              <a:ext uri="{28A0092B-C50C-407E-A947-70E740481C1C}">
                <a14:useLocalDpi xmlns:a14="http://schemas.microsoft.com/office/drawing/2010/main" val="0"/>
              </a:ext>
            </a:extLst>
          </a:blip>
          <a:srcRect l="11601" t="40400" r="8399" b="37200"/>
          <a:stretch/>
        </p:blipFill>
        <p:spPr>
          <a:xfrm>
            <a:off x="9381391" y="5773292"/>
            <a:ext cx="1909460" cy="534649"/>
          </a:xfrm>
          <a:prstGeom prst="rect">
            <a:avLst/>
          </a:prstGeom>
        </p:spPr>
      </p:pic>
      <p:sp>
        <p:nvSpPr>
          <p:cNvPr id="31" name="Title 30"/>
          <p:cNvSpPr>
            <a:spLocks noGrp="1"/>
          </p:cNvSpPr>
          <p:nvPr>
            <p:ph type="title"/>
          </p:nvPr>
        </p:nvSpPr>
        <p:spPr>
          <a:xfrm>
            <a:off x="560798" y="303855"/>
            <a:ext cx="11443360" cy="957600"/>
          </a:xfrm>
        </p:spPr>
        <p:txBody>
          <a:bodyPr>
            <a:normAutofit fontScale="90000"/>
          </a:bodyPr>
          <a:lstStyle/>
          <a:p>
            <a:pPr lvl="0" defTabSz="914225">
              <a:lnSpc>
                <a:spcPct val="100000"/>
              </a:lnSpc>
              <a:defRPr/>
            </a:pPr>
            <a:r>
              <a:rPr lang="en-US" sz="6000" spc="-100" dirty="0">
                <a:ln w="3175">
                  <a:noFill/>
                </a:ln>
                <a:solidFill>
                  <a:srgbClr val="00B0F0"/>
                </a:solidFill>
                <a:latin typeface="Segoe UI Light" pitchFamily="34" charset="0"/>
                <a:cs typeface="Arial" charset="0"/>
              </a:rPr>
              <a:t>Azure Websites Customers and Partners</a:t>
            </a:r>
            <a:br>
              <a:rPr lang="en-US" sz="6000" spc="-100" dirty="0">
                <a:ln w="3175">
                  <a:noFill/>
                </a:ln>
                <a:solidFill>
                  <a:srgbClr val="00B0F0"/>
                </a:solidFill>
                <a:latin typeface="Segoe UI Light" pitchFamily="34" charset="0"/>
                <a:cs typeface="Arial" charset="0"/>
              </a:rPr>
            </a:br>
            <a:r>
              <a:rPr lang="en-US" sz="3600" dirty="0">
                <a:ln w="3175">
                  <a:noFill/>
                </a:ln>
                <a:latin typeface="Segoe UI Light" pitchFamily="34" charset="0"/>
                <a:cs typeface="Arial" charset="0"/>
              </a:rPr>
              <a:t>Folks doing interesting things on the </a:t>
            </a:r>
            <a:r>
              <a:rPr lang="en-US" sz="3600" dirty="0" smtClean="0">
                <a:ln w="3175">
                  <a:noFill/>
                </a:ln>
                <a:latin typeface="Segoe UI Light" pitchFamily="34" charset="0"/>
                <a:cs typeface="Arial" charset="0"/>
              </a:rPr>
              <a:t>platform</a:t>
            </a:r>
            <a:endParaRPr lang="en-US" sz="4400" dirty="0"/>
          </a:p>
        </p:txBody>
      </p:sp>
      <p:pic>
        <p:nvPicPr>
          <p:cNvPr id="1026" name="Picture 2" descr="http://img2.wikia.nocookie.net/__cb20111022082836/logopedia/images/7/73/Coles_logo.gif"/>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4983841" y="2509028"/>
            <a:ext cx="1135909" cy="1135909"/>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http://cf.juggle-images.com/matte/white/280x280/iberia-airlines-vertical-logo-primary.jpg"/>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7327008" y="2378549"/>
            <a:ext cx="1295884" cy="129588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ttp://t0.gstatic.com/images?q=tbn:ANd9GcRP4YGfMNfdDUn6JE2Jpa9q0uphY_tqaiAu40H4WmtX3ejE1GYr-A"/>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571994" y="1869719"/>
            <a:ext cx="995863" cy="618643"/>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33"/>
          <p:cNvPicPr>
            <a:picLocks noChangeAspect="1"/>
          </p:cNvPicPr>
          <p:nvPr/>
        </p:nvPicPr>
        <p:blipFill>
          <a:blip r:embed="rId23">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7430440" y="4573295"/>
            <a:ext cx="856768" cy="856768"/>
          </a:xfrm>
          <a:prstGeom prst="rect">
            <a:avLst/>
          </a:prstGeom>
        </p:spPr>
      </p:pic>
      <p:pic>
        <p:nvPicPr>
          <p:cNvPr id="11" name="Picture 2" descr="http://www.cnn.com/.a/1.66.2/assets/logo_cnn_badge.png"/>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2698696" y="3643950"/>
            <a:ext cx="776441" cy="776442"/>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https://encrypted-tbn1.gstatic.com/images?q=tbn:ANd9GcQ-HDBG4qEJGhe25GF_VrJh_bnC0-TFLrlq3JDEFB7zG7mNdan2RXEHqA5B"/>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4675219" y="4599799"/>
            <a:ext cx="1950900" cy="730255"/>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http://marriagesos.com/wp-content/uploads/2014/04/Fox94.png"/>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5001511" y="5701395"/>
            <a:ext cx="1188313" cy="735380"/>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http://www.softwarevoucher.com/wp-content/uploads/2013/08/Kaspersky-Lab-Logo.fw_.png"/>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705583" y="2555988"/>
            <a:ext cx="935834" cy="9410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73413885"/>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1" y="1412044"/>
            <a:ext cx="12192000" cy="44821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a:xfrm>
            <a:off x="1524649" y="694615"/>
            <a:ext cx="9142703" cy="693040"/>
          </a:xfrm>
          <a:prstGeom prst="rect">
            <a:avLst/>
          </a:prstGeom>
        </p:spPr>
        <p:txBody>
          <a:bodyPr vert="horz" lIns="91427" tIns="45713" rIns="91427" bIns="45713" rtlCol="0" anchor="t">
            <a:noAutofit/>
          </a:bodyPr>
          <a:lstStyle/>
          <a:p>
            <a:pPr algn="ctr" defTabSz="914367">
              <a:spcBef>
                <a:spcPct val="0"/>
              </a:spcBef>
            </a:pPr>
            <a:endParaRPr lang="en-US" sz="4000" dirty="0">
              <a:solidFill>
                <a:srgbClr val="3068B0"/>
              </a:solidFill>
              <a:latin typeface="Segoe UI Light"/>
            </a:endParaRP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32844" y="2709108"/>
            <a:ext cx="1256415" cy="555335"/>
          </a:xfrm>
          <a:prstGeom prst="rect">
            <a:avLst/>
          </a:prstGeom>
        </p:spPr>
      </p:pic>
      <p:pic>
        <p:nvPicPr>
          <p:cNvPr id="8" name="Picture 7"/>
          <p:cNvPicPr>
            <a:picLocks noChangeAspect="1"/>
          </p:cNvPicPr>
          <p:nvPr/>
        </p:nvPicPr>
        <p:blipFill>
          <a:blip r:embed="rId3"/>
          <a:stretch>
            <a:fillRect/>
          </a:stretch>
        </p:blipFill>
        <p:spPr>
          <a:xfrm>
            <a:off x="3488058" y="2885891"/>
            <a:ext cx="1662604" cy="387240"/>
          </a:xfrm>
          <a:prstGeom prst="rect">
            <a:avLst/>
          </a:prstGeom>
        </p:spPr>
      </p:pic>
      <p:pic>
        <p:nvPicPr>
          <p:cNvPr id="10" name="Picture 9"/>
          <p:cNvPicPr>
            <a:picLocks noChangeAspect="1"/>
          </p:cNvPicPr>
          <p:nvPr/>
        </p:nvPicPr>
        <p:blipFill>
          <a:blip r:embed="rId4"/>
          <a:stretch>
            <a:fillRect/>
          </a:stretch>
        </p:blipFill>
        <p:spPr>
          <a:xfrm>
            <a:off x="2006355" y="3757288"/>
            <a:ext cx="895259" cy="643320"/>
          </a:xfrm>
          <a:prstGeom prst="rect">
            <a:avLst/>
          </a:prstGeom>
        </p:spPr>
      </p:pic>
      <p:pic>
        <p:nvPicPr>
          <p:cNvPr id="12" name="Picture 11"/>
          <p:cNvPicPr>
            <a:picLocks noChangeAspect="1"/>
          </p:cNvPicPr>
          <p:nvPr/>
        </p:nvPicPr>
        <p:blipFill>
          <a:blip r:embed="rId5"/>
          <a:stretch>
            <a:fillRect/>
          </a:stretch>
        </p:blipFill>
        <p:spPr>
          <a:xfrm>
            <a:off x="3534155" y="3934431"/>
            <a:ext cx="1586367" cy="266811"/>
          </a:xfrm>
          <a:prstGeom prst="rect">
            <a:avLst/>
          </a:prstGeom>
        </p:spPr>
      </p:pic>
      <p:pic>
        <p:nvPicPr>
          <p:cNvPr id="13" name="Picture 12"/>
          <p:cNvPicPr>
            <a:picLocks noChangeAspect="1"/>
          </p:cNvPicPr>
          <p:nvPr/>
        </p:nvPicPr>
        <p:blipFill>
          <a:blip r:embed="rId6"/>
          <a:stretch>
            <a:fillRect/>
          </a:stretch>
        </p:blipFill>
        <p:spPr>
          <a:xfrm>
            <a:off x="5901592" y="3850394"/>
            <a:ext cx="1189704" cy="457107"/>
          </a:xfrm>
          <a:prstGeom prst="rect">
            <a:avLst/>
          </a:prstGeom>
        </p:spPr>
      </p:pic>
      <p:pic>
        <p:nvPicPr>
          <p:cNvPr id="14" name="Picture 13"/>
          <p:cNvPicPr>
            <a:picLocks noChangeAspect="1"/>
          </p:cNvPicPr>
          <p:nvPr/>
        </p:nvPicPr>
        <p:blipFill>
          <a:blip r:embed="rId7"/>
          <a:stretch>
            <a:fillRect/>
          </a:stretch>
        </p:blipFill>
        <p:spPr>
          <a:xfrm>
            <a:off x="5901592" y="1889792"/>
            <a:ext cx="967410" cy="445355"/>
          </a:xfrm>
          <a:prstGeom prst="rect">
            <a:avLst/>
          </a:prstGeom>
        </p:spPr>
      </p:pic>
      <p:pic>
        <p:nvPicPr>
          <p:cNvPr id="15" name="Picture 14"/>
          <p:cNvPicPr>
            <a:picLocks noChangeAspect="1"/>
          </p:cNvPicPr>
          <p:nvPr/>
        </p:nvPicPr>
        <p:blipFill>
          <a:blip r:embed="rId8"/>
          <a:stretch>
            <a:fillRect/>
          </a:stretch>
        </p:blipFill>
        <p:spPr>
          <a:xfrm>
            <a:off x="1885529" y="2802698"/>
            <a:ext cx="734570" cy="558959"/>
          </a:xfrm>
          <a:prstGeom prst="rect">
            <a:avLst/>
          </a:prstGeom>
        </p:spPr>
      </p:pic>
      <p:pic>
        <p:nvPicPr>
          <p:cNvPr id="16" name="Picture 15"/>
          <p:cNvPicPr>
            <a:picLocks noChangeAspect="1"/>
          </p:cNvPicPr>
          <p:nvPr/>
        </p:nvPicPr>
        <p:blipFill>
          <a:blip r:embed="rId9"/>
          <a:stretch>
            <a:fillRect/>
          </a:stretch>
        </p:blipFill>
        <p:spPr>
          <a:xfrm>
            <a:off x="5791458" y="4796239"/>
            <a:ext cx="1187676" cy="524012"/>
          </a:xfrm>
          <a:prstGeom prst="rect">
            <a:avLst/>
          </a:prstGeom>
        </p:spPr>
      </p:pic>
      <p:pic>
        <p:nvPicPr>
          <p:cNvPr id="17" name="Picture 16"/>
          <p:cNvPicPr>
            <a:picLocks noChangeAspect="1"/>
          </p:cNvPicPr>
          <p:nvPr/>
        </p:nvPicPr>
        <p:blipFill>
          <a:blip r:embed="rId10"/>
          <a:stretch>
            <a:fillRect/>
          </a:stretch>
        </p:blipFill>
        <p:spPr>
          <a:xfrm>
            <a:off x="1885528" y="4776703"/>
            <a:ext cx="828578" cy="563083"/>
          </a:xfrm>
          <a:prstGeom prst="rect">
            <a:avLst/>
          </a:prstGeom>
        </p:spPr>
      </p:pic>
      <p:pic>
        <p:nvPicPr>
          <p:cNvPr id="18" name="Picture 17"/>
          <p:cNvPicPr>
            <a:picLocks noChangeAspect="1"/>
          </p:cNvPicPr>
          <p:nvPr/>
        </p:nvPicPr>
        <p:blipFill>
          <a:blip r:embed="rId11"/>
          <a:stretch>
            <a:fillRect/>
          </a:stretch>
        </p:blipFill>
        <p:spPr>
          <a:xfrm>
            <a:off x="3488058" y="4912000"/>
            <a:ext cx="1778208" cy="427785"/>
          </a:xfrm>
          <a:prstGeom prst="rect">
            <a:avLst/>
          </a:prstGeom>
        </p:spPr>
      </p:pic>
      <p:pic>
        <p:nvPicPr>
          <p:cNvPr id="19" name="Picture 18"/>
          <p:cNvPicPr>
            <a:picLocks noChangeAspect="1"/>
          </p:cNvPicPr>
          <p:nvPr/>
        </p:nvPicPr>
        <p:blipFill>
          <a:blip r:embed="rId12"/>
          <a:stretch>
            <a:fillRect/>
          </a:stretch>
        </p:blipFill>
        <p:spPr>
          <a:xfrm>
            <a:off x="8132844" y="3853343"/>
            <a:ext cx="1748931" cy="494048"/>
          </a:xfrm>
          <a:prstGeom prst="rect">
            <a:avLst/>
          </a:prstGeom>
        </p:spPr>
      </p:pic>
      <p:pic>
        <p:nvPicPr>
          <p:cNvPr id="20" name="Picture 19"/>
          <p:cNvPicPr>
            <a:picLocks noChangeAspect="1"/>
          </p:cNvPicPr>
          <p:nvPr/>
        </p:nvPicPr>
        <p:blipFill>
          <a:blip r:embed="rId13"/>
          <a:stretch>
            <a:fillRect/>
          </a:stretch>
        </p:blipFill>
        <p:spPr>
          <a:xfrm>
            <a:off x="8160530" y="4660198"/>
            <a:ext cx="1693557" cy="660053"/>
          </a:xfrm>
          <a:prstGeom prst="rect">
            <a:avLst/>
          </a:prstGeom>
        </p:spPr>
      </p:pic>
      <p:pic>
        <p:nvPicPr>
          <p:cNvPr id="2" name="Picture 1"/>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2006354" y="1889793"/>
            <a:ext cx="700331" cy="672318"/>
          </a:xfrm>
          <a:prstGeom prst="rect">
            <a:avLst/>
          </a:prstGeom>
        </p:spPr>
      </p:pic>
      <p:pic>
        <p:nvPicPr>
          <p:cNvPr id="3" name="Picture 2"/>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443248" y="2020869"/>
            <a:ext cx="2053259" cy="288901"/>
          </a:xfrm>
          <a:prstGeom prst="rect">
            <a:avLst/>
          </a:prstGeom>
        </p:spPr>
      </p:pic>
      <p:pic>
        <p:nvPicPr>
          <p:cNvPr id="21" name="Picture 20"/>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8047090" y="1878719"/>
            <a:ext cx="1842160" cy="456429"/>
          </a:xfrm>
          <a:prstGeom prst="rect">
            <a:avLst/>
          </a:prstGeom>
        </p:spPr>
      </p:pic>
      <p:pic>
        <p:nvPicPr>
          <p:cNvPr id="22" name="Picture 21"/>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5884628" y="2803786"/>
            <a:ext cx="1206668" cy="524978"/>
          </a:xfrm>
          <a:prstGeom prst="rect">
            <a:avLst/>
          </a:prstGeom>
        </p:spPr>
      </p:pic>
      <p:sp>
        <p:nvSpPr>
          <p:cNvPr id="5" name="Title 4"/>
          <p:cNvSpPr>
            <a:spLocks noGrp="1"/>
          </p:cNvSpPr>
          <p:nvPr>
            <p:ph type="title"/>
          </p:nvPr>
        </p:nvSpPr>
        <p:spPr/>
        <p:txBody>
          <a:bodyPr/>
          <a:lstStyle/>
          <a:p>
            <a:r>
              <a:rPr lang="en-US" dirty="0"/>
              <a:t>Who uses Azure Websites</a:t>
            </a:r>
            <a:r>
              <a:rPr lang="en-US" dirty="0" smtClean="0"/>
              <a:t>?</a:t>
            </a:r>
            <a:endParaRPr lang="en-US" dirty="0"/>
          </a:p>
        </p:txBody>
      </p:sp>
    </p:spTree>
    <p:extLst>
      <p:ext uri="{BB962C8B-B14F-4D97-AF65-F5344CB8AC3E}">
        <p14:creationId xmlns:p14="http://schemas.microsoft.com/office/powerpoint/2010/main" val="2535477600"/>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1587" y="0"/>
            <a:ext cx="12486114" cy="6921906"/>
          </a:xfrm>
          <a:prstGeom prst="rect">
            <a:avLst/>
          </a:prstGeom>
        </p:spPr>
      </p:pic>
      <p:sp>
        <p:nvSpPr>
          <p:cNvPr id="18" name="Pentagon 17"/>
          <p:cNvSpPr/>
          <p:nvPr/>
        </p:nvSpPr>
        <p:spPr>
          <a:xfrm>
            <a:off x="4637312" y="4419600"/>
            <a:ext cx="2536916" cy="2354579"/>
          </a:xfrm>
          <a:prstGeom prst="homePlate">
            <a:avLst>
              <a:gd name="adj" fmla="val 83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t"/>
          <a:lstStyle/>
          <a:p>
            <a:pPr fontAlgn="base">
              <a:spcBef>
                <a:spcPct val="0"/>
              </a:spcBef>
              <a:spcAft>
                <a:spcPts val="300"/>
              </a:spcAft>
              <a:buClr>
                <a:prstClr val="white"/>
              </a:buClr>
              <a:buSzPct val="100000"/>
            </a:pPr>
            <a:r>
              <a:rPr lang="en-US" sz="2800" dirty="0">
                <a:solidFill>
                  <a:prstClr val="white"/>
                </a:solidFill>
                <a:latin typeface="Segoe UI Light"/>
                <a:ea typeface="Segoe UI" pitchFamily="34" charset="0"/>
                <a:cs typeface="Segoe UI" pitchFamily="34" charset="0"/>
              </a:rPr>
              <a:t>Objectives</a:t>
            </a:r>
          </a:p>
          <a:p>
            <a:pPr marL="164592" indent="-164592" fontAlgn="base">
              <a:spcBef>
                <a:spcPct val="0"/>
              </a:spcBef>
              <a:buClr>
                <a:prstClr val="white"/>
              </a:buClr>
              <a:buSzPct val="100000"/>
              <a:buFont typeface="Arial" panose="020B0604020202020204" pitchFamily="34" charset="0"/>
              <a:buChar char="•"/>
            </a:pPr>
            <a:r>
              <a:rPr lang="en-US" sz="1400" dirty="0" smtClean="0">
                <a:solidFill>
                  <a:srgbClr val="FFFFFF"/>
                </a:solidFill>
              </a:rPr>
              <a:t>Scalable e-commerce website to </a:t>
            </a:r>
            <a:r>
              <a:rPr lang="en-US" sz="1400" dirty="0">
                <a:solidFill>
                  <a:srgbClr val="FFFFFF"/>
                </a:solidFill>
              </a:rPr>
              <a:t>sell </a:t>
            </a:r>
            <a:r>
              <a:rPr lang="en-US" sz="1400" dirty="0" smtClean="0">
                <a:solidFill>
                  <a:srgbClr val="FFFFFF"/>
                </a:solidFill>
              </a:rPr>
              <a:t>flights</a:t>
            </a:r>
            <a:r>
              <a:rPr lang="en-US" sz="1400" dirty="0">
                <a:solidFill>
                  <a:srgbClr val="FFFFFF"/>
                </a:solidFill>
              </a:rPr>
              <a:t>, both through travel agencies and directly to </a:t>
            </a:r>
            <a:r>
              <a:rPr lang="en-US" sz="1400" dirty="0" smtClean="0">
                <a:solidFill>
                  <a:srgbClr val="FFFFFF"/>
                </a:solidFill>
              </a:rPr>
              <a:t>consumers </a:t>
            </a:r>
            <a:endParaRPr lang="en-US" sz="1400" dirty="0">
              <a:solidFill>
                <a:prstClr val="white"/>
              </a:solidFill>
              <a:ea typeface="Segoe UI" pitchFamily="34" charset="0"/>
              <a:cs typeface="Segoe UI" pitchFamily="34" charset="0"/>
            </a:endParaRPr>
          </a:p>
        </p:txBody>
      </p:sp>
      <p:sp>
        <p:nvSpPr>
          <p:cNvPr id="19" name="Chevron 18"/>
          <p:cNvSpPr/>
          <p:nvPr/>
        </p:nvSpPr>
        <p:spPr>
          <a:xfrm>
            <a:off x="7050420" y="4419600"/>
            <a:ext cx="2607386" cy="2354579"/>
          </a:xfrm>
          <a:prstGeom prst="chevron">
            <a:avLst>
              <a:gd name="adj" fmla="val 845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37160" rIns="45720" bIns="137160" rtlCol="0" anchor="t"/>
          <a:lstStyle/>
          <a:p>
            <a:pPr fontAlgn="base">
              <a:spcBef>
                <a:spcPct val="0"/>
              </a:spcBef>
              <a:spcAft>
                <a:spcPts val="300"/>
              </a:spcAft>
              <a:buClr>
                <a:prstClr val="white"/>
              </a:buClr>
              <a:buSzPct val="100000"/>
            </a:pPr>
            <a:r>
              <a:rPr lang="en-US" sz="2800" dirty="0">
                <a:solidFill>
                  <a:prstClr val="white"/>
                </a:solidFill>
                <a:latin typeface="Segoe UI Light"/>
                <a:ea typeface="Segoe UI" pitchFamily="34" charset="0"/>
                <a:cs typeface="Segoe UI" pitchFamily="34" charset="0"/>
              </a:rPr>
              <a:t>Tactics</a:t>
            </a:r>
            <a:endParaRPr lang="en-US" sz="1600" dirty="0">
              <a:solidFill>
                <a:prstClr val="white"/>
              </a:solidFill>
              <a:ea typeface="Segoe UI" pitchFamily="34" charset="0"/>
              <a:cs typeface="Segoe UI" pitchFamily="34" charset="0"/>
            </a:endParaRPr>
          </a:p>
          <a:p>
            <a:pPr marL="285750" indent="-285750">
              <a:buFont typeface="Arial" panose="020B0604020202020204" pitchFamily="34" charset="0"/>
              <a:buChar char="•"/>
            </a:pPr>
            <a:r>
              <a:rPr lang="en-US" sz="1400" dirty="0" smtClean="0">
                <a:solidFill>
                  <a:prstClr val="white"/>
                </a:solidFill>
              </a:rPr>
              <a:t>Built Azure -based </a:t>
            </a:r>
            <a:r>
              <a:rPr lang="en-US" sz="1400" dirty="0">
                <a:solidFill>
                  <a:prstClr val="white"/>
                </a:solidFill>
              </a:rPr>
              <a:t>website </a:t>
            </a:r>
            <a:r>
              <a:rPr lang="en-US" sz="1400" dirty="0" smtClean="0">
                <a:solidFill>
                  <a:prstClr val="white"/>
                </a:solidFill>
              </a:rPr>
              <a:t>using </a:t>
            </a:r>
            <a:r>
              <a:rPr lang="en-US" sz="1400" dirty="0" err="1" smtClean="0">
                <a:solidFill>
                  <a:prstClr val="white"/>
                </a:solidFill>
              </a:rPr>
              <a:t>Umbraco</a:t>
            </a:r>
            <a:r>
              <a:rPr lang="en-US" sz="1400" dirty="0" smtClean="0">
                <a:solidFill>
                  <a:prstClr val="white"/>
                </a:solidFill>
              </a:rPr>
              <a:t> and SQL on Azure for content and images.</a:t>
            </a:r>
          </a:p>
          <a:p>
            <a:pPr marL="285750" indent="-285750">
              <a:buFont typeface="Arial" panose="020B0604020202020204" pitchFamily="34" charset="0"/>
              <a:buChar char="•"/>
            </a:pPr>
            <a:r>
              <a:rPr lang="en-US" sz="1400" dirty="0" smtClean="0">
                <a:solidFill>
                  <a:prstClr val="white"/>
                </a:solidFill>
              </a:rPr>
              <a:t>Using VNET connecting </a:t>
            </a:r>
            <a:r>
              <a:rPr lang="en-US" sz="1400" dirty="0" err="1" smtClean="0">
                <a:solidFill>
                  <a:prstClr val="white"/>
                </a:solidFill>
              </a:rPr>
              <a:t>on-premise</a:t>
            </a:r>
            <a:endParaRPr lang="en-US" sz="1400" dirty="0">
              <a:solidFill>
                <a:prstClr val="white"/>
              </a:solidFill>
            </a:endParaRPr>
          </a:p>
        </p:txBody>
      </p:sp>
      <p:sp>
        <p:nvSpPr>
          <p:cNvPr id="20" name="Chevron 25"/>
          <p:cNvSpPr/>
          <p:nvPr/>
        </p:nvSpPr>
        <p:spPr>
          <a:xfrm>
            <a:off x="9538896" y="4419600"/>
            <a:ext cx="2655869" cy="2354579"/>
          </a:xfrm>
          <a:custGeom>
            <a:avLst/>
            <a:gdLst>
              <a:gd name="connsiteX0" fmla="*/ 0 w 3733800"/>
              <a:gd name="connsiteY0" fmla="*/ 0 h 2468880"/>
              <a:gd name="connsiteX1" fmla="*/ 3515353 w 3733800"/>
              <a:gd name="connsiteY1" fmla="*/ 0 h 2468880"/>
              <a:gd name="connsiteX2" fmla="*/ 3733800 w 3733800"/>
              <a:gd name="connsiteY2" fmla="*/ 1234440 h 2468880"/>
              <a:gd name="connsiteX3" fmla="*/ 3515353 w 3733800"/>
              <a:gd name="connsiteY3" fmla="*/ 2468880 h 2468880"/>
              <a:gd name="connsiteX4" fmla="*/ 0 w 3733800"/>
              <a:gd name="connsiteY4" fmla="*/ 2468880 h 2468880"/>
              <a:gd name="connsiteX5" fmla="*/ 218447 w 3733800"/>
              <a:gd name="connsiteY5" fmla="*/ 1234440 h 2468880"/>
              <a:gd name="connsiteX6" fmla="*/ 0 w 3733800"/>
              <a:gd name="connsiteY6" fmla="*/ 0 h 2468880"/>
              <a:gd name="connsiteX0" fmla="*/ 0 w 3515353"/>
              <a:gd name="connsiteY0" fmla="*/ 0 h 2468880"/>
              <a:gd name="connsiteX1" fmla="*/ 3515353 w 3515353"/>
              <a:gd name="connsiteY1" fmla="*/ 0 h 2468880"/>
              <a:gd name="connsiteX2" fmla="*/ 3515353 w 3515353"/>
              <a:gd name="connsiteY2" fmla="*/ 2468880 h 2468880"/>
              <a:gd name="connsiteX3" fmla="*/ 0 w 3515353"/>
              <a:gd name="connsiteY3" fmla="*/ 2468880 h 2468880"/>
              <a:gd name="connsiteX4" fmla="*/ 218447 w 3515353"/>
              <a:gd name="connsiteY4" fmla="*/ 1234440 h 2468880"/>
              <a:gd name="connsiteX5" fmla="*/ 0 w 3515353"/>
              <a:gd name="connsiteY5" fmla="*/ 0 h 2468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15353" h="2468880">
                <a:moveTo>
                  <a:pt x="0" y="0"/>
                </a:moveTo>
                <a:lnTo>
                  <a:pt x="3515353" y="0"/>
                </a:lnTo>
                <a:lnTo>
                  <a:pt x="3515353" y="2468880"/>
                </a:lnTo>
                <a:lnTo>
                  <a:pt x="0" y="2468880"/>
                </a:lnTo>
                <a:lnTo>
                  <a:pt x="218447" y="1234440"/>
                </a:lnTo>
                <a:lnTo>
                  <a:pt x="0"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5760" tIns="137160" rIns="137160" bIns="137160" rtlCol="0" anchor="t"/>
          <a:lstStyle/>
          <a:p>
            <a:pPr fontAlgn="base">
              <a:spcBef>
                <a:spcPct val="0"/>
              </a:spcBef>
              <a:spcAft>
                <a:spcPts val="300"/>
              </a:spcAft>
              <a:buClr>
                <a:prstClr val="white"/>
              </a:buClr>
              <a:buSzPct val="100000"/>
            </a:pPr>
            <a:r>
              <a:rPr lang="en-US" sz="2800" dirty="0">
                <a:solidFill>
                  <a:prstClr val="white"/>
                </a:solidFill>
                <a:latin typeface="Segoe UI Light"/>
                <a:ea typeface="Segoe UI" pitchFamily="34" charset="0"/>
                <a:cs typeface="Segoe UI" pitchFamily="34" charset="0"/>
              </a:rPr>
              <a:t>Results</a:t>
            </a:r>
          </a:p>
          <a:p>
            <a:pPr marL="164592" indent="-164592" fontAlgn="base">
              <a:spcAft>
                <a:spcPts val="300"/>
              </a:spcAft>
              <a:buClr>
                <a:prstClr val="white"/>
              </a:buClr>
              <a:buSzPct val="100000"/>
              <a:buFont typeface="Arial" panose="020B0604020202020204" pitchFamily="34" charset="0"/>
              <a:buChar char="•"/>
            </a:pPr>
            <a:r>
              <a:rPr lang="en-US" sz="1400" dirty="0" smtClean="0">
                <a:solidFill>
                  <a:srgbClr val="FFFFFF"/>
                </a:solidFill>
              </a:rPr>
              <a:t>Scalable Website with integration for Flight booking and Check In systems </a:t>
            </a:r>
            <a:endParaRPr lang="en-US" sz="1400" dirty="0">
              <a:solidFill>
                <a:prstClr val="white"/>
              </a:solidFill>
              <a:ea typeface="Segoe UI" pitchFamily="34" charset="0"/>
              <a:cs typeface="Segoe UI" pitchFamily="34" charset="0"/>
            </a:endParaRPr>
          </a:p>
        </p:txBody>
      </p:sp>
    </p:spTree>
    <p:extLst>
      <p:ext uri="{BB962C8B-B14F-4D97-AF65-F5344CB8AC3E}">
        <p14:creationId xmlns:p14="http://schemas.microsoft.com/office/powerpoint/2010/main" val="132670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9304421" y="-16043"/>
            <a:ext cx="2866023" cy="6874043"/>
          </a:xfrm>
          <a:prstGeom prst="rect">
            <a:avLst/>
          </a:prstGeom>
          <a:solidFill>
            <a:srgbClr val="0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4" name="Picture 3"/>
          <p:cNvPicPr>
            <a:picLocks noChangeAspect="1"/>
          </p:cNvPicPr>
          <p:nvPr/>
        </p:nvPicPr>
        <p:blipFill>
          <a:blip r:embed="rId3"/>
          <a:stretch>
            <a:fillRect/>
          </a:stretch>
        </p:blipFill>
        <p:spPr>
          <a:xfrm>
            <a:off x="0" y="16041"/>
            <a:ext cx="9528232" cy="6841959"/>
          </a:xfrm>
          <a:prstGeom prst="rect">
            <a:avLst/>
          </a:prstGeom>
        </p:spPr>
      </p:pic>
      <p:sp>
        <p:nvSpPr>
          <p:cNvPr id="2" name="Title 1"/>
          <p:cNvSpPr>
            <a:spLocks noGrp="1"/>
          </p:cNvSpPr>
          <p:nvPr>
            <p:ph type="title"/>
          </p:nvPr>
        </p:nvSpPr>
        <p:spPr>
          <a:xfrm>
            <a:off x="771350" y="376416"/>
            <a:ext cx="11079822" cy="957600"/>
          </a:xfrm>
        </p:spPr>
        <p:txBody>
          <a:bodyPr/>
          <a:lstStyle/>
          <a:p>
            <a:pPr algn="r"/>
            <a:r>
              <a:rPr lang="en-US" sz="4800" dirty="0" smtClean="0">
                <a:solidFill>
                  <a:schemeClr val="bg1"/>
                </a:solidFill>
              </a:rPr>
              <a:t>Jägermeister </a:t>
            </a:r>
            <a:endParaRPr lang="en-US" sz="4800" dirty="0">
              <a:solidFill>
                <a:schemeClr val="bg1"/>
              </a:solidFill>
            </a:endParaRPr>
          </a:p>
        </p:txBody>
      </p:sp>
      <p:sp>
        <p:nvSpPr>
          <p:cNvPr id="24" name="Pentagon 23"/>
          <p:cNvSpPr/>
          <p:nvPr/>
        </p:nvSpPr>
        <p:spPr>
          <a:xfrm>
            <a:off x="4768514" y="4457699"/>
            <a:ext cx="2468880" cy="2249805"/>
          </a:xfrm>
          <a:prstGeom prst="homePlate">
            <a:avLst>
              <a:gd name="adj" fmla="val 83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t"/>
          <a:lstStyle/>
          <a:p>
            <a:pPr fontAlgn="base">
              <a:spcBef>
                <a:spcPct val="0"/>
              </a:spcBef>
              <a:spcAft>
                <a:spcPts val="300"/>
              </a:spcAft>
              <a:buClr>
                <a:prstClr val="white"/>
              </a:buClr>
              <a:buSzPct val="100000"/>
            </a:pPr>
            <a:r>
              <a:rPr lang="en-US" sz="2800" dirty="0">
                <a:solidFill>
                  <a:prstClr val="white"/>
                </a:solidFill>
                <a:latin typeface="Segoe UI Light"/>
                <a:ea typeface="Segoe UI" pitchFamily="34" charset="0"/>
                <a:cs typeface="Segoe UI" pitchFamily="34" charset="0"/>
              </a:rPr>
              <a:t>Objectives</a:t>
            </a:r>
          </a:p>
          <a:p>
            <a:pPr marL="164592" indent="-164592" fontAlgn="base">
              <a:spcBef>
                <a:spcPct val="0"/>
              </a:spcBef>
              <a:buClr>
                <a:prstClr val="white"/>
              </a:buClr>
              <a:buSzPct val="100000"/>
              <a:buFont typeface="Arial" panose="020B0604020202020204" pitchFamily="34" charset="0"/>
              <a:buChar char="•"/>
            </a:pPr>
            <a:r>
              <a:rPr lang="en-US" sz="1400" dirty="0">
                <a:solidFill>
                  <a:prstClr val="white"/>
                </a:solidFill>
                <a:ea typeface="Segoe UI" pitchFamily="34" charset="0"/>
                <a:cs typeface="Segoe UI" pitchFamily="34" charset="0"/>
              </a:rPr>
              <a:t>Create brand awareness and loyalty</a:t>
            </a:r>
          </a:p>
          <a:p>
            <a:pPr marL="164592" indent="-164592" fontAlgn="base">
              <a:spcBef>
                <a:spcPct val="0"/>
              </a:spcBef>
              <a:buClr>
                <a:prstClr val="white"/>
              </a:buClr>
              <a:buSzPct val="100000"/>
              <a:buFont typeface="Arial" panose="020B0604020202020204" pitchFamily="34" charset="0"/>
              <a:buChar char="•"/>
            </a:pPr>
            <a:r>
              <a:rPr lang="en-US" sz="1400" dirty="0">
                <a:solidFill>
                  <a:prstClr val="white"/>
                </a:solidFill>
                <a:ea typeface="Segoe UI" pitchFamily="34" charset="0"/>
                <a:cs typeface="Segoe UI" pitchFamily="34" charset="0"/>
              </a:rPr>
              <a:t>Understand tastes and preferences of audience</a:t>
            </a:r>
          </a:p>
          <a:p>
            <a:pPr marL="164592" indent="-164592" fontAlgn="base">
              <a:spcBef>
                <a:spcPct val="0"/>
              </a:spcBef>
              <a:buClr>
                <a:prstClr val="white"/>
              </a:buClr>
              <a:buSzPct val="100000"/>
              <a:buFont typeface="Arial" panose="020B0604020202020204" pitchFamily="34" charset="0"/>
              <a:buChar char="•"/>
            </a:pPr>
            <a:r>
              <a:rPr lang="en-US" sz="1400" dirty="0" smtClean="0">
                <a:solidFill>
                  <a:prstClr val="white"/>
                </a:solidFill>
                <a:ea typeface="Segoe UI" pitchFamily="34" charset="0"/>
                <a:cs typeface="Segoe UI" pitchFamily="34" charset="0"/>
              </a:rPr>
              <a:t>Connect consumer through </a:t>
            </a:r>
            <a:r>
              <a:rPr lang="en-US" sz="1400" dirty="0">
                <a:solidFill>
                  <a:prstClr val="white"/>
                </a:solidFill>
                <a:ea typeface="Segoe UI" pitchFamily="34" charset="0"/>
                <a:cs typeface="Segoe UI" pitchFamily="34" charset="0"/>
              </a:rPr>
              <a:t>shared experiences</a:t>
            </a:r>
          </a:p>
          <a:p>
            <a:pPr marL="164592" indent="-164592" fontAlgn="base">
              <a:spcBef>
                <a:spcPct val="0"/>
              </a:spcBef>
              <a:buClr>
                <a:prstClr val="white"/>
              </a:buClr>
              <a:buSzPct val="100000"/>
              <a:buFont typeface="Arial" panose="020B0604020202020204" pitchFamily="34" charset="0"/>
              <a:buChar char="•"/>
            </a:pPr>
            <a:endParaRPr lang="en-US" sz="1400" dirty="0">
              <a:solidFill>
                <a:prstClr val="white"/>
              </a:solidFill>
              <a:ea typeface="Segoe UI" pitchFamily="34" charset="0"/>
              <a:cs typeface="Segoe UI" pitchFamily="34" charset="0"/>
            </a:endParaRPr>
          </a:p>
        </p:txBody>
      </p:sp>
      <p:sp>
        <p:nvSpPr>
          <p:cNvPr id="25" name="Chevron 24"/>
          <p:cNvSpPr/>
          <p:nvPr/>
        </p:nvSpPr>
        <p:spPr>
          <a:xfrm>
            <a:off x="7128508" y="4457699"/>
            <a:ext cx="2537460" cy="2249805"/>
          </a:xfrm>
          <a:prstGeom prst="chevron">
            <a:avLst>
              <a:gd name="adj" fmla="val 845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37160" rIns="45720" bIns="137160" rtlCol="0" anchor="t"/>
          <a:lstStyle/>
          <a:p>
            <a:pPr fontAlgn="base">
              <a:spcBef>
                <a:spcPct val="0"/>
              </a:spcBef>
              <a:spcAft>
                <a:spcPts val="300"/>
              </a:spcAft>
              <a:buClr>
                <a:prstClr val="white"/>
              </a:buClr>
              <a:buSzPct val="100000"/>
            </a:pPr>
            <a:r>
              <a:rPr lang="en-US" sz="2800" dirty="0">
                <a:solidFill>
                  <a:prstClr val="white"/>
                </a:solidFill>
                <a:latin typeface="Segoe UI Light"/>
                <a:ea typeface="Segoe UI" pitchFamily="34" charset="0"/>
                <a:cs typeface="Segoe UI" pitchFamily="34" charset="0"/>
              </a:rPr>
              <a:t>Tactics</a:t>
            </a:r>
            <a:endParaRPr lang="en-US" sz="1600" dirty="0">
              <a:solidFill>
                <a:prstClr val="white"/>
              </a:solidFill>
              <a:ea typeface="Segoe UI" pitchFamily="34" charset="0"/>
              <a:cs typeface="Segoe UI" pitchFamily="34" charset="0"/>
            </a:endParaRPr>
          </a:p>
          <a:p>
            <a:r>
              <a:rPr lang="en-US" sz="1400" dirty="0" smtClean="0">
                <a:solidFill>
                  <a:prstClr val="white"/>
                </a:solidFill>
              </a:rPr>
              <a:t>Cloud-based </a:t>
            </a:r>
            <a:r>
              <a:rPr lang="en-US" sz="1400" dirty="0">
                <a:solidFill>
                  <a:prstClr val="white"/>
                </a:solidFill>
              </a:rPr>
              <a:t>website and mobile application for engaging customers through social </a:t>
            </a:r>
            <a:r>
              <a:rPr lang="en-US" sz="1400" dirty="0" smtClean="0">
                <a:solidFill>
                  <a:prstClr val="white"/>
                </a:solidFill>
              </a:rPr>
              <a:t>media.  </a:t>
            </a:r>
            <a:r>
              <a:rPr lang="en-US" sz="1400" dirty="0">
                <a:solidFill>
                  <a:prstClr val="white"/>
                </a:solidFill>
              </a:rPr>
              <a:t>video and audio features.</a:t>
            </a:r>
          </a:p>
        </p:txBody>
      </p:sp>
      <p:sp>
        <p:nvSpPr>
          <p:cNvPr id="26" name="Chevron 25"/>
          <p:cNvSpPr/>
          <p:nvPr/>
        </p:nvSpPr>
        <p:spPr>
          <a:xfrm>
            <a:off x="9587580" y="4457699"/>
            <a:ext cx="2604418" cy="2249805"/>
          </a:xfrm>
          <a:custGeom>
            <a:avLst/>
            <a:gdLst>
              <a:gd name="connsiteX0" fmla="*/ 0 w 3733800"/>
              <a:gd name="connsiteY0" fmla="*/ 0 h 2468880"/>
              <a:gd name="connsiteX1" fmla="*/ 3515353 w 3733800"/>
              <a:gd name="connsiteY1" fmla="*/ 0 h 2468880"/>
              <a:gd name="connsiteX2" fmla="*/ 3733800 w 3733800"/>
              <a:gd name="connsiteY2" fmla="*/ 1234440 h 2468880"/>
              <a:gd name="connsiteX3" fmla="*/ 3515353 w 3733800"/>
              <a:gd name="connsiteY3" fmla="*/ 2468880 h 2468880"/>
              <a:gd name="connsiteX4" fmla="*/ 0 w 3733800"/>
              <a:gd name="connsiteY4" fmla="*/ 2468880 h 2468880"/>
              <a:gd name="connsiteX5" fmla="*/ 218447 w 3733800"/>
              <a:gd name="connsiteY5" fmla="*/ 1234440 h 2468880"/>
              <a:gd name="connsiteX6" fmla="*/ 0 w 3733800"/>
              <a:gd name="connsiteY6" fmla="*/ 0 h 2468880"/>
              <a:gd name="connsiteX0" fmla="*/ 0 w 3515353"/>
              <a:gd name="connsiteY0" fmla="*/ 0 h 2468880"/>
              <a:gd name="connsiteX1" fmla="*/ 3515353 w 3515353"/>
              <a:gd name="connsiteY1" fmla="*/ 0 h 2468880"/>
              <a:gd name="connsiteX2" fmla="*/ 3515353 w 3515353"/>
              <a:gd name="connsiteY2" fmla="*/ 2468880 h 2468880"/>
              <a:gd name="connsiteX3" fmla="*/ 0 w 3515353"/>
              <a:gd name="connsiteY3" fmla="*/ 2468880 h 2468880"/>
              <a:gd name="connsiteX4" fmla="*/ 218447 w 3515353"/>
              <a:gd name="connsiteY4" fmla="*/ 1234440 h 2468880"/>
              <a:gd name="connsiteX5" fmla="*/ 0 w 3515353"/>
              <a:gd name="connsiteY5" fmla="*/ 0 h 2468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15353" h="2468880">
                <a:moveTo>
                  <a:pt x="0" y="0"/>
                </a:moveTo>
                <a:lnTo>
                  <a:pt x="3515353" y="0"/>
                </a:lnTo>
                <a:lnTo>
                  <a:pt x="3515353" y="2468880"/>
                </a:lnTo>
                <a:lnTo>
                  <a:pt x="0" y="2468880"/>
                </a:lnTo>
                <a:lnTo>
                  <a:pt x="218447" y="1234440"/>
                </a:lnTo>
                <a:lnTo>
                  <a:pt x="0"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5760" tIns="137160" rIns="137160" bIns="137160" rtlCol="0" anchor="t"/>
          <a:lstStyle/>
          <a:p>
            <a:pPr fontAlgn="base">
              <a:spcBef>
                <a:spcPct val="0"/>
              </a:spcBef>
              <a:spcAft>
                <a:spcPts val="300"/>
              </a:spcAft>
              <a:buClr>
                <a:prstClr val="white"/>
              </a:buClr>
              <a:buSzPct val="100000"/>
            </a:pPr>
            <a:r>
              <a:rPr lang="en-US" sz="2800" dirty="0">
                <a:solidFill>
                  <a:prstClr val="white"/>
                </a:solidFill>
                <a:latin typeface="Segoe UI Light"/>
                <a:ea typeface="Segoe UI" pitchFamily="34" charset="0"/>
                <a:cs typeface="Segoe UI" pitchFamily="34" charset="0"/>
              </a:rPr>
              <a:t>Results</a:t>
            </a:r>
          </a:p>
          <a:p>
            <a:pPr marL="164592" indent="-164592" fontAlgn="base">
              <a:spcAft>
                <a:spcPts val="300"/>
              </a:spcAft>
              <a:buClr>
                <a:prstClr val="white"/>
              </a:buClr>
              <a:buSzPct val="100000"/>
              <a:buFont typeface="Arial" panose="020B0604020202020204" pitchFamily="34" charset="0"/>
              <a:buChar char="•"/>
            </a:pPr>
            <a:r>
              <a:rPr lang="en-US" sz="1400" dirty="0" smtClean="0">
                <a:solidFill>
                  <a:srgbClr val="FFFFFF"/>
                </a:solidFill>
              </a:rPr>
              <a:t>Mobile app and Website </a:t>
            </a:r>
            <a:r>
              <a:rPr lang="en-US" sz="1400" dirty="0" err="1" smtClean="0">
                <a:solidFill>
                  <a:srgbClr val="FFFFFF"/>
                </a:solidFill>
              </a:rPr>
              <a:t>JagerBonds</a:t>
            </a:r>
            <a:r>
              <a:rPr lang="en-US" sz="1400" dirty="0" smtClean="0">
                <a:solidFill>
                  <a:srgbClr val="FFFFFF"/>
                </a:solidFill>
              </a:rPr>
              <a:t> allows posting </a:t>
            </a:r>
            <a:r>
              <a:rPr lang="en-US" sz="1400" dirty="0">
                <a:solidFill>
                  <a:srgbClr val="FFFFFF"/>
                </a:solidFill>
              </a:rPr>
              <a:t>photos and videos to Facebook or Instagram</a:t>
            </a:r>
          </a:p>
          <a:p>
            <a:pPr marL="164592" indent="-164592" fontAlgn="base">
              <a:spcAft>
                <a:spcPts val="300"/>
              </a:spcAft>
              <a:buClr>
                <a:prstClr val="white"/>
              </a:buClr>
              <a:buSzPct val="100000"/>
              <a:buFont typeface="Arial" panose="020B0604020202020204" pitchFamily="34" charset="0"/>
              <a:buChar char="•"/>
            </a:pPr>
            <a:r>
              <a:rPr lang="en-US" sz="1400" dirty="0" smtClean="0">
                <a:solidFill>
                  <a:srgbClr val="FFFFFF"/>
                </a:solidFill>
              </a:rPr>
              <a:t>Compile posts </a:t>
            </a:r>
            <a:r>
              <a:rPr lang="en-US" sz="1400" dirty="0">
                <a:solidFill>
                  <a:srgbClr val="FFFFFF"/>
                </a:solidFill>
              </a:rPr>
              <a:t>and pair them with songs </a:t>
            </a:r>
            <a:endParaRPr lang="en-US" sz="1400" dirty="0">
              <a:solidFill>
                <a:prstClr val="white"/>
              </a:solidFill>
              <a:ea typeface="Segoe UI" pitchFamily="34" charset="0"/>
              <a:cs typeface="Segoe UI" pitchFamily="34" charset="0"/>
            </a:endParaRPr>
          </a:p>
        </p:txBody>
      </p:sp>
    </p:spTree>
    <p:extLst>
      <p:ext uri="{BB962C8B-B14F-4D97-AF65-F5344CB8AC3E}">
        <p14:creationId xmlns:p14="http://schemas.microsoft.com/office/powerpoint/2010/main" val="1029453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pPr lvl="0" defTabSz="914225">
              <a:lnSpc>
                <a:spcPct val="100000"/>
              </a:lnSpc>
              <a:defRPr/>
            </a:pPr>
            <a:r>
              <a:rPr lang="en-US" spc="-100" dirty="0">
                <a:ln w="3175">
                  <a:noFill/>
                </a:ln>
                <a:solidFill>
                  <a:srgbClr val="00B0F0"/>
                </a:solidFill>
                <a:latin typeface="Segoe UI Light" pitchFamily="34" charset="0"/>
                <a:cs typeface="Arial" charset="0"/>
              </a:rPr>
              <a:t>Azure </a:t>
            </a:r>
            <a:r>
              <a:rPr lang="en-US" spc="-100" dirty="0" smtClean="0">
                <a:ln w="3175">
                  <a:noFill/>
                </a:ln>
                <a:solidFill>
                  <a:srgbClr val="00B0F0"/>
                </a:solidFill>
                <a:latin typeface="Segoe UI Light" pitchFamily="34" charset="0"/>
                <a:cs typeface="Arial" charset="0"/>
              </a:rPr>
              <a:t>Websites Features &amp; Capabilities</a:t>
            </a:r>
            <a:endParaRPr lang="en-US" sz="3200" dirty="0"/>
          </a:p>
        </p:txBody>
      </p:sp>
      <p:sp>
        <p:nvSpPr>
          <p:cNvPr id="7" name="Rectangle 6"/>
          <p:cNvSpPr/>
          <p:nvPr/>
        </p:nvSpPr>
        <p:spPr bwMode="auto">
          <a:xfrm>
            <a:off x="749963" y="1299956"/>
            <a:ext cx="3189767" cy="10732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r>
              <a:rPr lang="en-US" sz="2400" dirty="0" smtClean="0">
                <a:gradFill>
                  <a:gsLst>
                    <a:gs pos="0">
                      <a:srgbClr val="FFFFFF"/>
                    </a:gs>
                    <a:gs pos="100000">
                      <a:srgbClr val="FFFFFF"/>
                    </a:gs>
                  </a:gsLst>
                  <a:lin ang="5400000" scaled="0"/>
                </a:gradFill>
                <a:latin typeface="Segoe UI Light"/>
                <a:ea typeface="Segoe UI" pitchFamily="34" charset="0"/>
                <a:cs typeface="Segoe UI" pitchFamily="34" charset="0"/>
              </a:rPr>
              <a:t>Enterprise-class</a:t>
            </a:r>
            <a:endParaRPr lang="en-US" sz="2800" dirty="0">
              <a:gradFill>
                <a:gsLst>
                  <a:gs pos="0">
                    <a:srgbClr val="FFFFFF"/>
                  </a:gs>
                  <a:gs pos="100000">
                    <a:srgbClr val="FFFFFF"/>
                  </a:gs>
                </a:gsLst>
                <a:lin ang="5400000" scaled="0"/>
              </a:gradFill>
              <a:ea typeface="Segoe UI" pitchFamily="34" charset="0"/>
              <a:cs typeface="Segoe UI" pitchFamily="34" charset="0"/>
            </a:endParaRPr>
          </a:p>
          <a:p>
            <a:pPr defTabSz="932472" fontAlgn="base">
              <a:spcBef>
                <a:spcPct val="0"/>
              </a:spcBef>
              <a:spcAft>
                <a:spcPct val="0"/>
              </a:spcAft>
              <a:defRPr/>
            </a:pPr>
            <a:r>
              <a:rPr lang="en-US" sz="1000" dirty="0" smtClean="0">
                <a:solidFill>
                  <a:srgbClr val="FFFFFF"/>
                </a:solidFill>
                <a:ea typeface="Segoe UI" pitchFamily="34" charset="0"/>
                <a:cs typeface="Segoe UI" pitchFamily="34" charset="0"/>
              </a:rPr>
              <a:t>Designed for secure mission-critical applications</a:t>
            </a:r>
          </a:p>
        </p:txBody>
      </p:sp>
      <p:sp>
        <p:nvSpPr>
          <p:cNvPr id="8" name="Rectangle 7"/>
          <p:cNvSpPr/>
          <p:nvPr/>
        </p:nvSpPr>
        <p:spPr bwMode="auto">
          <a:xfrm>
            <a:off x="4040127" y="1299956"/>
            <a:ext cx="3189767" cy="10732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r>
              <a:rPr lang="en-US" sz="2400" dirty="0" smtClean="0">
                <a:gradFill>
                  <a:gsLst>
                    <a:gs pos="0">
                      <a:srgbClr val="FFFFFF"/>
                    </a:gs>
                    <a:gs pos="100000">
                      <a:srgbClr val="FFFFFF"/>
                    </a:gs>
                  </a:gsLst>
                  <a:lin ang="5400000" scaled="0"/>
                </a:gradFill>
                <a:latin typeface="Segoe UI Light"/>
                <a:ea typeface="Segoe UI" pitchFamily="34" charset="0"/>
                <a:cs typeface="Segoe UI" pitchFamily="34" charset="0"/>
              </a:rPr>
              <a:t>Global scale</a:t>
            </a:r>
            <a:endParaRPr lang="en-US" sz="2800" dirty="0" smtClean="0">
              <a:gradFill>
                <a:gsLst>
                  <a:gs pos="0">
                    <a:srgbClr val="FFFFFF"/>
                  </a:gs>
                  <a:gs pos="100000">
                    <a:srgbClr val="FFFFFF"/>
                  </a:gs>
                </a:gsLst>
                <a:lin ang="5400000" scaled="0"/>
              </a:gradFill>
              <a:ea typeface="Segoe UI" pitchFamily="34" charset="0"/>
              <a:cs typeface="Segoe UI" pitchFamily="34" charset="0"/>
            </a:endParaRPr>
          </a:p>
          <a:p>
            <a:pPr defTabSz="932472" fontAlgn="base">
              <a:spcBef>
                <a:spcPct val="0"/>
              </a:spcBef>
              <a:spcAft>
                <a:spcPct val="0"/>
              </a:spcAft>
              <a:defRPr/>
            </a:pPr>
            <a:r>
              <a:rPr lang="en-US" sz="1000" dirty="0">
                <a:solidFill>
                  <a:srgbClr val="FFFFFF"/>
                </a:solidFill>
              </a:rPr>
              <a:t>Optimized for </a:t>
            </a:r>
            <a:r>
              <a:rPr lang="en-US" sz="1000" dirty="0" smtClean="0">
                <a:solidFill>
                  <a:srgbClr val="FFFFFF"/>
                </a:solidFill>
              </a:rPr>
              <a:t>Availability and </a:t>
            </a:r>
            <a:r>
              <a:rPr lang="en-US" sz="1000" dirty="0">
                <a:solidFill>
                  <a:srgbClr val="FFFFFF"/>
                </a:solidFill>
              </a:rPr>
              <a:t>Automatic scale</a:t>
            </a:r>
            <a:endParaRPr lang="en-US" sz="1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p:nvSpPr>
        <p:spPr bwMode="auto">
          <a:xfrm>
            <a:off x="7330291" y="1299955"/>
            <a:ext cx="3189767" cy="10732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r>
              <a:rPr lang="en-US" sz="2400" dirty="0" smtClean="0">
                <a:gradFill>
                  <a:gsLst>
                    <a:gs pos="0">
                      <a:srgbClr val="FFFFFF"/>
                    </a:gs>
                    <a:gs pos="100000">
                      <a:srgbClr val="FFFFFF"/>
                    </a:gs>
                  </a:gsLst>
                  <a:lin ang="5400000" scaled="0"/>
                </a:gradFill>
                <a:latin typeface="Segoe UI Light"/>
                <a:ea typeface="Segoe UI" pitchFamily="34" charset="0"/>
                <a:cs typeface="Segoe UI" pitchFamily="34" charset="0"/>
              </a:rPr>
              <a:t>Built for </a:t>
            </a:r>
            <a:r>
              <a:rPr lang="en-US" sz="2400" dirty="0" err="1" smtClean="0">
                <a:gradFill>
                  <a:gsLst>
                    <a:gs pos="0">
                      <a:srgbClr val="FFFFFF"/>
                    </a:gs>
                    <a:gs pos="100000">
                      <a:srgbClr val="FFFFFF"/>
                    </a:gs>
                  </a:gsLst>
                  <a:lin ang="5400000" scaled="0"/>
                </a:gradFill>
                <a:latin typeface="Segoe UI Light"/>
                <a:ea typeface="Segoe UI" pitchFamily="34" charset="0"/>
                <a:cs typeface="Segoe UI" pitchFamily="34" charset="0"/>
              </a:rPr>
              <a:t>DevOps</a:t>
            </a:r>
            <a:endParaRPr lang="en-US" sz="2800" dirty="0" smtClean="0">
              <a:gradFill>
                <a:gsLst>
                  <a:gs pos="0">
                    <a:srgbClr val="FFFFFF"/>
                  </a:gs>
                  <a:gs pos="100000">
                    <a:srgbClr val="FFFFFF"/>
                  </a:gs>
                </a:gsLst>
                <a:lin ang="5400000" scaled="0"/>
              </a:gradFill>
              <a:ea typeface="Segoe UI" pitchFamily="34" charset="0"/>
              <a:cs typeface="Segoe UI" pitchFamily="34" charset="0"/>
            </a:endParaRPr>
          </a:p>
          <a:p>
            <a:pPr defTabSz="932472" fontAlgn="base">
              <a:spcBef>
                <a:spcPct val="0"/>
              </a:spcBef>
              <a:spcAft>
                <a:spcPct val="0"/>
              </a:spcAft>
              <a:defRPr/>
            </a:pPr>
            <a:r>
              <a:rPr lang="en-US" sz="1000" dirty="0" smtClean="0">
                <a:solidFill>
                  <a:srgbClr val="FFFFFF"/>
                </a:solidFill>
              </a:rPr>
              <a:t>Agility through Continuous </a:t>
            </a:r>
            <a:r>
              <a:rPr lang="en-US" sz="1000" dirty="0">
                <a:solidFill>
                  <a:srgbClr val="FFFFFF"/>
                </a:solidFill>
              </a:rPr>
              <a:t>D</a:t>
            </a:r>
            <a:r>
              <a:rPr lang="en-US" sz="1000" dirty="0" smtClean="0">
                <a:solidFill>
                  <a:srgbClr val="FFFFFF"/>
                </a:solidFill>
              </a:rPr>
              <a:t>eployment</a:t>
            </a:r>
            <a:endParaRPr lang="en-US" sz="1000" dirty="0">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p:nvSpPr>
        <p:spPr>
          <a:xfrm>
            <a:off x="737932" y="2128512"/>
            <a:ext cx="3415987" cy="3557897"/>
          </a:xfrm>
          <a:prstGeom prst="rect">
            <a:avLst/>
          </a:prstGeom>
          <a:noFill/>
          <a:ln>
            <a:noFill/>
          </a:ln>
        </p:spPr>
        <p:txBody>
          <a:bodyPr wrap="square" lIns="182880" tIns="146304" rIns="182880" bIns="146304" rtlCol="0">
            <a:spAutoFit/>
          </a:bodyPr>
          <a:lstStyle/>
          <a:p>
            <a:pPr>
              <a:spcAft>
                <a:spcPts val="300"/>
              </a:spcAft>
              <a:defRPr/>
            </a:pPr>
            <a:r>
              <a:rPr lang="en-US" sz="1400" dirty="0" smtClean="0">
                <a:solidFill>
                  <a:srgbClr val="FFFFFF"/>
                </a:solidFill>
                <a:ea typeface="Calibri" panose="020F0502020204030204" pitchFamily="34" charset="0"/>
                <a:cs typeface="Calibri" panose="020F0502020204030204" pitchFamily="34" charset="0"/>
              </a:rPr>
              <a:t>Hybrid </a:t>
            </a:r>
            <a:r>
              <a:rPr lang="en-US" sz="1400" dirty="0">
                <a:solidFill>
                  <a:srgbClr val="FFFFFF"/>
                </a:solidFill>
                <a:ea typeface="Calibri" panose="020F0502020204030204" pitchFamily="34" charset="0"/>
                <a:cs typeface="Calibri" panose="020F0502020204030204" pitchFamily="34" charset="0"/>
              </a:rPr>
              <a:t>Connections / VPN Support</a:t>
            </a:r>
          </a:p>
          <a:p>
            <a:pPr>
              <a:spcAft>
                <a:spcPts val="300"/>
              </a:spcAft>
              <a:defRPr/>
            </a:pPr>
            <a:r>
              <a:rPr lang="en-US" sz="1400" dirty="0" smtClean="0">
                <a:solidFill>
                  <a:srgbClr val="FFFFFF"/>
                </a:solidFill>
                <a:ea typeface="Calibri" panose="020F0502020204030204" pitchFamily="34" charset="0"/>
                <a:cs typeface="Calibri" panose="020F0502020204030204" pitchFamily="34" charset="0"/>
              </a:rPr>
              <a:t>Scheduled </a:t>
            </a:r>
            <a:r>
              <a:rPr lang="en-US" sz="1400" dirty="0">
                <a:solidFill>
                  <a:srgbClr val="FFFFFF"/>
                </a:solidFill>
                <a:ea typeface="Calibri" panose="020F0502020204030204" pitchFamily="34" charset="0"/>
                <a:cs typeface="Calibri" panose="020F0502020204030204" pitchFamily="34" charset="0"/>
              </a:rPr>
              <a:t>Backup</a:t>
            </a:r>
          </a:p>
          <a:p>
            <a:pPr>
              <a:spcAft>
                <a:spcPts val="300"/>
              </a:spcAft>
              <a:defRPr/>
            </a:pPr>
            <a:r>
              <a:rPr lang="en-US" sz="1400" dirty="0" smtClean="0">
                <a:solidFill>
                  <a:srgbClr val="FFFFFF"/>
                </a:solidFill>
                <a:ea typeface="Calibri" panose="020F0502020204030204" pitchFamily="34" charset="0"/>
                <a:cs typeface="Calibri" panose="020F0502020204030204" pitchFamily="34" charset="0"/>
              </a:rPr>
              <a:t>Azure Active Directory Integration </a:t>
            </a:r>
          </a:p>
          <a:p>
            <a:pPr>
              <a:spcAft>
                <a:spcPts val="300"/>
              </a:spcAft>
              <a:defRPr/>
            </a:pPr>
            <a:r>
              <a:rPr lang="en-US" sz="1400" dirty="0" smtClean="0">
                <a:solidFill>
                  <a:srgbClr val="FFFFFF"/>
                </a:solidFill>
                <a:ea typeface="Calibri" panose="020F0502020204030204" pitchFamily="34" charset="0"/>
                <a:cs typeface="Calibri" panose="020F0502020204030204" pitchFamily="34" charset="0"/>
              </a:rPr>
              <a:t>Site Resiliency, HA, and DR</a:t>
            </a:r>
          </a:p>
          <a:p>
            <a:pPr>
              <a:spcAft>
                <a:spcPts val="300"/>
              </a:spcAft>
              <a:defRPr/>
            </a:pPr>
            <a:r>
              <a:rPr lang="en-US" sz="1400" dirty="0" smtClean="0">
                <a:solidFill>
                  <a:srgbClr val="FFFFFF"/>
                </a:solidFill>
                <a:ea typeface="Calibri" panose="020F0502020204030204" pitchFamily="34" charset="0"/>
                <a:cs typeface="Calibri" panose="020F0502020204030204" pitchFamily="34" charset="0"/>
              </a:rPr>
              <a:t>Web Jobs</a:t>
            </a:r>
          </a:p>
          <a:p>
            <a:pPr>
              <a:spcAft>
                <a:spcPts val="300"/>
              </a:spcAft>
              <a:defRPr/>
            </a:pPr>
            <a:r>
              <a:rPr lang="en-US" sz="1400" dirty="0" smtClean="0">
                <a:solidFill>
                  <a:srgbClr val="FFFFFF"/>
                </a:solidFill>
                <a:ea typeface="Calibri" panose="020F0502020204030204" pitchFamily="34" charset="0"/>
                <a:cs typeface="Calibri" panose="020F0502020204030204" pitchFamily="34" charset="0"/>
              </a:rPr>
              <a:t>Role Base Access Control </a:t>
            </a:r>
          </a:p>
          <a:p>
            <a:pPr>
              <a:spcAft>
                <a:spcPts val="300"/>
              </a:spcAft>
              <a:defRPr/>
            </a:pPr>
            <a:r>
              <a:rPr lang="en-US" sz="1400" dirty="0" smtClean="0">
                <a:solidFill>
                  <a:srgbClr val="FFFFFF"/>
                </a:solidFill>
                <a:ea typeface="Calibri" panose="020F0502020204030204" pitchFamily="34" charset="0"/>
                <a:cs typeface="Calibri" panose="020F0502020204030204" pitchFamily="34" charset="0"/>
              </a:rPr>
              <a:t>Audit / Compliance </a:t>
            </a:r>
          </a:p>
          <a:p>
            <a:pPr>
              <a:spcAft>
                <a:spcPts val="300"/>
              </a:spcAft>
              <a:defRPr/>
            </a:pPr>
            <a:r>
              <a:rPr lang="en-US" sz="1400" dirty="0">
                <a:solidFill>
                  <a:srgbClr val="FFFFFF"/>
                </a:solidFill>
                <a:ea typeface="Calibri" panose="020F0502020204030204" pitchFamily="34" charset="0"/>
                <a:cs typeface="Calibri" panose="020F0502020204030204" pitchFamily="34" charset="0"/>
              </a:rPr>
              <a:t>Enterprise </a:t>
            </a:r>
            <a:r>
              <a:rPr lang="en-US" sz="1400" dirty="0" smtClean="0">
                <a:solidFill>
                  <a:srgbClr val="FFFFFF"/>
                </a:solidFill>
                <a:ea typeface="Calibri" panose="020F0502020204030204" pitchFamily="34" charset="0"/>
                <a:cs typeface="Calibri" panose="020F0502020204030204" pitchFamily="34" charset="0"/>
              </a:rPr>
              <a:t>Migration</a:t>
            </a:r>
            <a:endParaRPr lang="en-US" sz="1400" dirty="0">
              <a:solidFill>
                <a:srgbClr val="FFFFFF"/>
              </a:solidFill>
              <a:ea typeface="Calibri" panose="020F0502020204030204" pitchFamily="34" charset="0"/>
              <a:cs typeface="Calibri" panose="020F0502020204030204" pitchFamily="34" charset="0"/>
            </a:endParaRPr>
          </a:p>
          <a:p>
            <a:pPr>
              <a:spcAft>
                <a:spcPts val="300"/>
              </a:spcAft>
              <a:defRPr/>
            </a:pPr>
            <a:r>
              <a:rPr lang="en-US" sz="1400" dirty="0" smtClean="0">
                <a:solidFill>
                  <a:srgbClr val="FFFFFF"/>
                </a:solidFill>
                <a:ea typeface="Calibri" panose="020F0502020204030204" pitchFamily="34" charset="0"/>
                <a:cs typeface="Calibri" panose="020F0502020204030204" pitchFamily="34" charset="0"/>
              </a:rPr>
              <a:t>Client Certs </a:t>
            </a:r>
          </a:p>
          <a:p>
            <a:pPr>
              <a:spcAft>
                <a:spcPts val="300"/>
              </a:spcAft>
              <a:defRPr/>
            </a:pPr>
            <a:r>
              <a:rPr lang="en-US" sz="1400" dirty="0" err="1" smtClean="0">
                <a:solidFill>
                  <a:srgbClr val="FFFFFF"/>
                </a:solidFill>
                <a:ea typeface="Calibri" panose="020F0502020204030204" pitchFamily="34" charset="0"/>
                <a:cs typeface="Calibri" panose="020F0502020204030204" pitchFamily="34" charset="0"/>
              </a:rPr>
              <a:t>Redis</a:t>
            </a:r>
            <a:r>
              <a:rPr lang="en-US" sz="1400" dirty="0" smtClean="0">
                <a:solidFill>
                  <a:srgbClr val="FFFFFF"/>
                </a:solidFill>
                <a:ea typeface="Calibri" panose="020F0502020204030204" pitchFamily="34" charset="0"/>
                <a:cs typeface="Calibri" panose="020F0502020204030204" pitchFamily="34" charset="0"/>
              </a:rPr>
              <a:t> </a:t>
            </a:r>
            <a:r>
              <a:rPr lang="en-US" sz="1400" dirty="0">
                <a:solidFill>
                  <a:srgbClr val="FFFFFF"/>
                </a:solidFill>
                <a:ea typeface="Calibri" panose="020F0502020204030204" pitchFamily="34" charset="0"/>
                <a:cs typeface="Calibri" panose="020F0502020204030204" pitchFamily="34" charset="0"/>
              </a:rPr>
              <a:t>Caching</a:t>
            </a:r>
          </a:p>
          <a:p>
            <a:pPr>
              <a:spcAft>
                <a:spcPts val="300"/>
              </a:spcAft>
              <a:defRPr/>
            </a:pPr>
            <a:r>
              <a:rPr lang="en-US" sz="1400" dirty="0" smtClean="0">
                <a:solidFill>
                  <a:srgbClr val="FFFFFF"/>
                </a:solidFill>
                <a:ea typeface="Calibri" panose="020F0502020204030204" pitchFamily="34" charset="0"/>
                <a:cs typeface="Calibri" panose="020F0502020204030204" pitchFamily="34" charset="0"/>
              </a:rPr>
              <a:t>IP </a:t>
            </a:r>
            <a:r>
              <a:rPr lang="en-US" sz="1400" dirty="0">
                <a:solidFill>
                  <a:srgbClr val="FFFFFF"/>
                </a:solidFill>
                <a:ea typeface="Calibri" panose="020F0502020204030204" pitchFamily="34" charset="0"/>
                <a:cs typeface="Calibri" panose="020F0502020204030204" pitchFamily="34" charset="0"/>
              </a:rPr>
              <a:t>Restrictions/ SSL</a:t>
            </a:r>
          </a:p>
          <a:p>
            <a:pPr>
              <a:spcAft>
                <a:spcPts val="300"/>
              </a:spcAft>
              <a:defRPr/>
            </a:pPr>
            <a:r>
              <a:rPr lang="en-US" sz="1400" dirty="0" smtClean="0">
                <a:solidFill>
                  <a:srgbClr val="FFFFFF"/>
                </a:solidFill>
                <a:ea typeface="Calibri" panose="020F0502020204030204" pitchFamily="34" charset="0"/>
                <a:cs typeface="Calibri" panose="020F0502020204030204" pitchFamily="34" charset="0"/>
              </a:rPr>
              <a:t>Web </a:t>
            </a:r>
            <a:r>
              <a:rPr lang="en-US" sz="1400" dirty="0">
                <a:solidFill>
                  <a:srgbClr val="FFFFFF"/>
                </a:solidFill>
                <a:ea typeface="Calibri" panose="020F0502020204030204" pitchFamily="34" charset="0"/>
                <a:cs typeface="Calibri" panose="020F0502020204030204" pitchFamily="34" charset="0"/>
              </a:rPr>
              <a:t>Sockets</a:t>
            </a:r>
          </a:p>
          <a:p>
            <a:pPr>
              <a:spcAft>
                <a:spcPts val="300"/>
              </a:spcAft>
              <a:defRPr/>
            </a:pPr>
            <a:r>
              <a:rPr lang="en-US" sz="1400" dirty="0" smtClean="0">
                <a:solidFill>
                  <a:srgbClr val="FFFFFF"/>
                </a:solidFill>
                <a:ea typeface="Calibri" panose="020F0502020204030204" pitchFamily="34" charset="0"/>
                <a:cs typeface="Calibri" panose="020F0502020204030204" pitchFamily="34" charset="0"/>
              </a:rPr>
              <a:t>SQL</a:t>
            </a:r>
            <a:r>
              <a:rPr lang="en-US" sz="1400" dirty="0">
                <a:solidFill>
                  <a:srgbClr val="FFFFFF"/>
                </a:solidFill>
                <a:ea typeface="Calibri" panose="020F0502020204030204" pitchFamily="34" charset="0"/>
                <a:cs typeface="Calibri" panose="020F0502020204030204" pitchFamily="34" charset="0"/>
              </a:rPr>
              <a:t>, MySQL, </a:t>
            </a:r>
            <a:r>
              <a:rPr lang="en-US" sz="1400" dirty="0" err="1">
                <a:solidFill>
                  <a:srgbClr val="FFFFFF"/>
                </a:solidFill>
                <a:ea typeface="Calibri" panose="020F0502020204030204" pitchFamily="34" charset="0"/>
                <a:cs typeface="Calibri" panose="020F0502020204030204" pitchFamily="34" charset="0"/>
              </a:rPr>
              <a:t>DocDB</a:t>
            </a:r>
            <a:r>
              <a:rPr lang="en-US" sz="1400" dirty="0">
                <a:solidFill>
                  <a:srgbClr val="FFFFFF"/>
                </a:solidFill>
                <a:ea typeface="Calibri" panose="020F0502020204030204" pitchFamily="34" charset="0"/>
                <a:cs typeface="Calibri" panose="020F0502020204030204" pitchFamily="34" charset="0"/>
              </a:rPr>
              <a:t>, &amp; </a:t>
            </a:r>
            <a:r>
              <a:rPr lang="en-US" sz="1400" dirty="0" smtClean="0">
                <a:solidFill>
                  <a:srgbClr val="FFFFFF"/>
                </a:solidFill>
                <a:ea typeface="Calibri" panose="020F0502020204030204" pitchFamily="34" charset="0"/>
                <a:cs typeface="Calibri" panose="020F0502020204030204" pitchFamily="34" charset="0"/>
              </a:rPr>
              <a:t>Mongo</a:t>
            </a:r>
            <a:endParaRPr lang="en-US" sz="1400" dirty="0">
              <a:solidFill>
                <a:srgbClr val="FFFFFF"/>
              </a:solidFill>
              <a:ea typeface="Calibri" panose="020F0502020204030204" pitchFamily="34" charset="0"/>
              <a:cs typeface="Calibri" panose="020F0502020204030204" pitchFamily="34" charset="0"/>
            </a:endParaRPr>
          </a:p>
        </p:txBody>
      </p:sp>
      <p:sp>
        <p:nvSpPr>
          <p:cNvPr id="12" name="TextBox 11"/>
          <p:cNvSpPr txBox="1"/>
          <p:nvPr/>
        </p:nvSpPr>
        <p:spPr>
          <a:xfrm>
            <a:off x="4001022" y="2131890"/>
            <a:ext cx="3317237" cy="3519425"/>
          </a:xfrm>
          <a:prstGeom prst="rect">
            <a:avLst/>
          </a:prstGeom>
          <a:noFill/>
          <a:ln>
            <a:noFill/>
          </a:ln>
        </p:spPr>
        <p:txBody>
          <a:bodyPr wrap="square" lIns="182880" tIns="146304" rIns="182880" bIns="146304" rtlCol="0">
            <a:spAutoFit/>
          </a:bodyPr>
          <a:lstStyle/>
          <a:p>
            <a:pPr>
              <a:spcAft>
                <a:spcPts val="300"/>
              </a:spcAft>
              <a:defRPr/>
            </a:pPr>
            <a:r>
              <a:rPr lang="en-US" sz="1400" dirty="0" smtClean="0">
                <a:solidFill>
                  <a:srgbClr val="FFFFFF"/>
                </a:solidFill>
                <a:ea typeface="Calibri" panose="020F0502020204030204" pitchFamily="34" charset="0"/>
                <a:cs typeface="Calibri" panose="020F0502020204030204" pitchFamily="34" charset="0"/>
              </a:rPr>
              <a:t>Automated Deployment</a:t>
            </a:r>
            <a:br>
              <a:rPr lang="en-US" sz="1400" dirty="0" smtClean="0">
                <a:solidFill>
                  <a:srgbClr val="FFFFFF"/>
                </a:solidFill>
                <a:ea typeface="Calibri" panose="020F0502020204030204" pitchFamily="34" charset="0"/>
                <a:cs typeface="Calibri" panose="020F0502020204030204" pitchFamily="34" charset="0"/>
              </a:rPr>
            </a:br>
            <a:r>
              <a:rPr lang="en-US" sz="1400" dirty="0" err="1" smtClean="0">
                <a:solidFill>
                  <a:srgbClr val="FFFFFF"/>
                </a:solidFill>
                <a:ea typeface="Calibri" panose="020F0502020204030204" pitchFamily="34" charset="0"/>
                <a:cs typeface="Calibri" panose="020F0502020204030204" pitchFamily="34" charset="0"/>
              </a:rPr>
              <a:t>AutoScale</a:t>
            </a:r>
            <a:endParaRPr lang="en-US" sz="1400" dirty="0" smtClean="0">
              <a:solidFill>
                <a:srgbClr val="FFFFFF"/>
              </a:solidFill>
              <a:ea typeface="Calibri" panose="020F0502020204030204" pitchFamily="34" charset="0"/>
              <a:cs typeface="Calibri" panose="020F0502020204030204" pitchFamily="34" charset="0"/>
            </a:endParaRPr>
          </a:p>
          <a:p>
            <a:pPr>
              <a:spcAft>
                <a:spcPts val="300"/>
              </a:spcAft>
              <a:defRPr/>
            </a:pPr>
            <a:r>
              <a:rPr lang="en-US" sz="1400" dirty="0" smtClean="0">
                <a:solidFill>
                  <a:srgbClr val="FFFFFF"/>
                </a:solidFill>
                <a:ea typeface="Calibri" panose="020F0502020204030204" pitchFamily="34" charset="0"/>
                <a:cs typeface="Calibri" panose="020F0502020204030204" pitchFamily="34" charset="0"/>
              </a:rPr>
              <a:t>Built-in Load Balancing</a:t>
            </a:r>
          </a:p>
          <a:p>
            <a:pPr>
              <a:spcAft>
                <a:spcPts val="300"/>
              </a:spcAft>
              <a:defRPr/>
            </a:pPr>
            <a:r>
              <a:rPr lang="en-US" sz="1400" dirty="0" smtClean="0">
                <a:solidFill>
                  <a:srgbClr val="FFFFFF"/>
                </a:solidFill>
                <a:ea typeface="Calibri" panose="020F0502020204030204" pitchFamily="34" charset="0"/>
                <a:cs typeface="Calibri" panose="020F0502020204030204" pitchFamily="34" charset="0"/>
              </a:rPr>
              <a:t>WW Datacenter Coverage</a:t>
            </a:r>
          </a:p>
          <a:p>
            <a:pPr>
              <a:spcAft>
                <a:spcPts val="300"/>
              </a:spcAft>
              <a:defRPr/>
            </a:pPr>
            <a:r>
              <a:rPr lang="en-US" sz="1400" dirty="0" smtClean="0">
                <a:solidFill>
                  <a:srgbClr val="FFFFFF"/>
                </a:solidFill>
                <a:ea typeface="Calibri" panose="020F0502020204030204" pitchFamily="34" charset="0"/>
                <a:cs typeface="Calibri" panose="020F0502020204030204" pitchFamily="34" charset="0"/>
              </a:rPr>
              <a:t>End Point Monitoring &amp; Alerts</a:t>
            </a:r>
          </a:p>
          <a:p>
            <a:pPr>
              <a:spcAft>
                <a:spcPts val="300"/>
              </a:spcAft>
              <a:defRPr/>
            </a:pPr>
            <a:r>
              <a:rPr lang="en-US" sz="1400" dirty="0" smtClean="0">
                <a:solidFill>
                  <a:srgbClr val="FFFFFF"/>
                </a:solidFill>
                <a:ea typeface="Calibri" panose="020F0502020204030204" pitchFamily="34" charset="0"/>
                <a:cs typeface="Calibri" panose="020F0502020204030204" pitchFamily="34" charset="0"/>
              </a:rPr>
              <a:t>App Gallery</a:t>
            </a:r>
          </a:p>
          <a:p>
            <a:pPr>
              <a:spcAft>
                <a:spcPts val="300"/>
              </a:spcAft>
              <a:defRPr/>
            </a:pPr>
            <a:r>
              <a:rPr lang="en-US" sz="1400" dirty="0" smtClean="0">
                <a:solidFill>
                  <a:srgbClr val="FFFFFF"/>
                </a:solidFill>
                <a:ea typeface="Calibri" panose="020F0502020204030204" pitchFamily="34" charset="0"/>
                <a:cs typeface="Calibri" panose="020F0502020204030204" pitchFamily="34" charset="0"/>
              </a:rPr>
              <a:t>DR </a:t>
            </a:r>
            <a:r>
              <a:rPr lang="en-US" sz="1400" dirty="0">
                <a:solidFill>
                  <a:srgbClr val="FFFFFF"/>
                </a:solidFill>
                <a:ea typeface="Calibri" panose="020F0502020204030204" pitchFamily="34" charset="0"/>
                <a:cs typeface="Calibri" panose="020F0502020204030204" pitchFamily="34" charset="0"/>
              </a:rPr>
              <a:t>Site Support</a:t>
            </a:r>
          </a:p>
          <a:p>
            <a:pPr>
              <a:spcAft>
                <a:spcPts val="300"/>
              </a:spcAft>
              <a:defRPr/>
            </a:pPr>
            <a:r>
              <a:rPr lang="en-US" sz="1400" dirty="0" err="1" smtClean="0">
                <a:solidFill>
                  <a:srgbClr val="FFFFFF"/>
                </a:solidFill>
                <a:ea typeface="Calibri" panose="020F0502020204030204" pitchFamily="34" charset="0"/>
                <a:cs typeface="Calibri" panose="020F0502020204030204" pitchFamily="34" charset="0"/>
              </a:rPr>
              <a:t>WildCard</a:t>
            </a:r>
            <a:r>
              <a:rPr lang="en-US" sz="1400" dirty="0" smtClean="0">
                <a:solidFill>
                  <a:srgbClr val="FFFFFF"/>
                </a:solidFill>
                <a:ea typeface="Calibri" panose="020F0502020204030204" pitchFamily="34" charset="0"/>
                <a:cs typeface="Calibri" panose="020F0502020204030204" pitchFamily="34" charset="0"/>
              </a:rPr>
              <a:t> </a:t>
            </a:r>
            <a:r>
              <a:rPr lang="en-US" sz="1400" dirty="0">
                <a:solidFill>
                  <a:srgbClr val="FFFFFF"/>
                </a:solidFill>
                <a:ea typeface="Calibri" panose="020F0502020204030204" pitchFamily="34" charset="0"/>
                <a:cs typeface="Calibri" panose="020F0502020204030204" pitchFamily="34" charset="0"/>
              </a:rPr>
              <a:t>Support</a:t>
            </a:r>
          </a:p>
          <a:p>
            <a:pPr>
              <a:spcAft>
                <a:spcPts val="300"/>
              </a:spcAft>
              <a:defRPr/>
            </a:pPr>
            <a:r>
              <a:rPr lang="en-US" sz="1400" dirty="0" smtClean="0">
                <a:solidFill>
                  <a:srgbClr val="FFFFFF"/>
                </a:solidFill>
                <a:ea typeface="Calibri" panose="020F0502020204030204" pitchFamily="34" charset="0"/>
                <a:cs typeface="Calibri" panose="020F0502020204030204" pitchFamily="34" charset="0"/>
              </a:rPr>
              <a:t>Dedicated </a:t>
            </a:r>
            <a:r>
              <a:rPr lang="en-US" sz="1400" dirty="0">
                <a:solidFill>
                  <a:srgbClr val="FFFFFF"/>
                </a:solidFill>
                <a:ea typeface="Calibri" panose="020F0502020204030204" pitchFamily="34" charset="0"/>
                <a:cs typeface="Calibri" panose="020F0502020204030204" pitchFamily="34" charset="0"/>
              </a:rPr>
              <a:t>IP address</a:t>
            </a:r>
          </a:p>
          <a:p>
            <a:pPr>
              <a:spcAft>
                <a:spcPts val="300"/>
              </a:spcAft>
              <a:defRPr/>
            </a:pPr>
            <a:r>
              <a:rPr lang="en-US" sz="1400" dirty="0" smtClean="0">
                <a:solidFill>
                  <a:srgbClr val="FFFFFF"/>
                </a:solidFill>
                <a:ea typeface="Calibri" panose="020F0502020204030204" pitchFamily="34" charset="0"/>
                <a:cs typeface="Calibri" panose="020F0502020204030204" pitchFamily="34" charset="0"/>
              </a:rPr>
              <a:t>HTTP </a:t>
            </a:r>
            <a:r>
              <a:rPr lang="en-US" sz="1400" dirty="0">
                <a:solidFill>
                  <a:srgbClr val="FFFFFF"/>
                </a:solidFill>
                <a:ea typeface="Calibri" panose="020F0502020204030204" pitchFamily="34" charset="0"/>
                <a:cs typeface="Calibri" panose="020F0502020204030204" pitchFamily="34" charset="0"/>
              </a:rPr>
              <a:t>Compression </a:t>
            </a:r>
          </a:p>
          <a:p>
            <a:pPr>
              <a:spcAft>
                <a:spcPts val="300"/>
              </a:spcAft>
              <a:defRPr/>
            </a:pPr>
            <a:r>
              <a:rPr lang="en-US" sz="1400" dirty="0" err="1" smtClean="0">
                <a:solidFill>
                  <a:srgbClr val="FFFFFF"/>
                </a:solidFill>
                <a:ea typeface="Calibri" panose="020F0502020204030204" pitchFamily="34" charset="0"/>
                <a:cs typeface="Calibri" panose="020F0502020204030204" pitchFamily="34" charset="0"/>
              </a:rPr>
              <a:t>WebJobs</a:t>
            </a:r>
            <a:endParaRPr lang="en-US" sz="1400" dirty="0">
              <a:solidFill>
                <a:srgbClr val="FFFFFF"/>
              </a:solidFill>
              <a:ea typeface="Calibri" panose="020F0502020204030204" pitchFamily="34" charset="0"/>
              <a:cs typeface="Calibri" panose="020F0502020204030204" pitchFamily="34" charset="0"/>
            </a:endParaRPr>
          </a:p>
          <a:p>
            <a:pPr>
              <a:spcAft>
                <a:spcPts val="300"/>
              </a:spcAft>
              <a:defRPr/>
            </a:pPr>
            <a:r>
              <a:rPr lang="en-US" sz="1400" dirty="0" smtClean="0">
                <a:solidFill>
                  <a:srgbClr val="FFFFFF"/>
                </a:solidFill>
                <a:ea typeface="Calibri" panose="020F0502020204030204" pitchFamily="34" charset="0"/>
                <a:cs typeface="Calibri" panose="020F0502020204030204" pitchFamily="34" charset="0"/>
              </a:rPr>
              <a:t>Sticky </a:t>
            </a:r>
            <a:r>
              <a:rPr lang="en-US" sz="1400" dirty="0">
                <a:solidFill>
                  <a:srgbClr val="FFFFFF"/>
                </a:solidFill>
                <a:ea typeface="Calibri" panose="020F0502020204030204" pitchFamily="34" charset="0"/>
                <a:cs typeface="Calibri" panose="020F0502020204030204" pitchFamily="34" charset="0"/>
              </a:rPr>
              <a:t>Sessions </a:t>
            </a:r>
          </a:p>
          <a:p>
            <a:pPr>
              <a:spcAft>
                <a:spcPts val="300"/>
              </a:spcAft>
              <a:defRPr/>
            </a:pPr>
            <a:endParaRPr lang="en-US" sz="1400" dirty="0">
              <a:solidFill>
                <a:srgbClr val="FFFFFF"/>
              </a:solidFill>
              <a:ea typeface="Calibri" panose="020F0502020204030204" pitchFamily="34" charset="0"/>
              <a:cs typeface="Calibri" panose="020F0502020204030204" pitchFamily="34" charset="0"/>
            </a:endParaRPr>
          </a:p>
        </p:txBody>
      </p:sp>
      <p:sp>
        <p:nvSpPr>
          <p:cNvPr id="13" name="TextBox 12"/>
          <p:cNvSpPr txBox="1"/>
          <p:nvPr/>
        </p:nvSpPr>
        <p:spPr>
          <a:xfrm>
            <a:off x="7318260" y="2128512"/>
            <a:ext cx="3684005" cy="3811813"/>
          </a:xfrm>
          <a:prstGeom prst="rect">
            <a:avLst/>
          </a:prstGeom>
          <a:noFill/>
          <a:ln>
            <a:noFill/>
          </a:ln>
        </p:spPr>
        <p:txBody>
          <a:bodyPr wrap="square" lIns="182880" tIns="146304" rIns="182880" bIns="146304" rtlCol="0">
            <a:spAutoFit/>
          </a:bodyPr>
          <a:lstStyle/>
          <a:p>
            <a:pPr>
              <a:spcAft>
                <a:spcPts val="300"/>
              </a:spcAft>
              <a:defRPr/>
            </a:pPr>
            <a:r>
              <a:rPr lang="en-US" sz="1400" dirty="0">
                <a:solidFill>
                  <a:srgbClr val="FFFFFF"/>
                </a:solidFill>
                <a:ea typeface="Calibri" panose="020F0502020204030204" pitchFamily="34" charset="0"/>
                <a:cs typeface="Calibri" panose="020F0502020204030204" pitchFamily="34" charset="0"/>
              </a:rPr>
              <a:t>Remote </a:t>
            </a:r>
            <a:r>
              <a:rPr lang="en-US" sz="1400" dirty="0" smtClean="0">
                <a:solidFill>
                  <a:srgbClr val="FFFFFF"/>
                </a:solidFill>
                <a:ea typeface="Calibri" panose="020F0502020204030204" pitchFamily="34" charset="0"/>
                <a:cs typeface="Calibri" panose="020F0502020204030204" pitchFamily="34" charset="0"/>
              </a:rPr>
              <a:t>Debugging w/ Visual Studio </a:t>
            </a:r>
            <a:endParaRPr lang="en-US" sz="1400" dirty="0">
              <a:solidFill>
                <a:srgbClr val="FFFFFF"/>
              </a:solidFill>
              <a:ea typeface="Calibri" panose="020F0502020204030204" pitchFamily="34" charset="0"/>
              <a:cs typeface="Calibri" panose="020F0502020204030204" pitchFamily="34" charset="0"/>
            </a:endParaRPr>
          </a:p>
          <a:p>
            <a:pPr>
              <a:spcAft>
                <a:spcPts val="300"/>
              </a:spcAft>
              <a:defRPr/>
            </a:pPr>
            <a:r>
              <a:rPr lang="en-US" sz="1400" dirty="0">
                <a:solidFill>
                  <a:srgbClr val="FFFFFF"/>
                </a:solidFill>
                <a:ea typeface="Calibri" panose="020F0502020204030204" pitchFamily="34" charset="0"/>
                <a:cs typeface="Calibri" panose="020F0502020204030204" pitchFamily="34" charset="0"/>
              </a:rPr>
              <a:t>Site Staging Slots</a:t>
            </a:r>
          </a:p>
          <a:p>
            <a:pPr>
              <a:spcAft>
                <a:spcPts val="300"/>
              </a:spcAft>
              <a:defRPr/>
            </a:pPr>
            <a:r>
              <a:rPr lang="en-US" sz="1400" dirty="0">
                <a:solidFill>
                  <a:srgbClr val="FFFFFF"/>
                </a:solidFill>
                <a:ea typeface="Calibri" panose="020F0502020204030204" pitchFamily="34" charset="0"/>
                <a:cs typeface="Calibri" panose="020F0502020204030204" pitchFamily="34" charset="0"/>
              </a:rPr>
              <a:t>Testing in Production</a:t>
            </a:r>
          </a:p>
          <a:p>
            <a:pPr>
              <a:spcAft>
                <a:spcPts val="300"/>
              </a:spcAft>
              <a:defRPr/>
            </a:pPr>
            <a:r>
              <a:rPr lang="en-US" sz="1400" dirty="0" smtClean="0">
                <a:solidFill>
                  <a:srgbClr val="FFFFFF"/>
                </a:solidFill>
                <a:ea typeface="Calibri" panose="020F0502020204030204" pitchFamily="34" charset="0"/>
                <a:cs typeface="Calibri" panose="020F0502020204030204" pitchFamily="34" charset="0"/>
              </a:rPr>
              <a:t>Continuous Integration/Deployment </a:t>
            </a:r>
          </a:p>
          <a:p>
            <a:pPr>
              <a:spcAft>
                <a:spcPts val="300"/>
              </a:spcAft>
              <a:defRPr/>
            </a:pPr>
            <a:r>
              <a:rPr lang="en-US" sz="1400" dirty="0" smtClean="0">
                <a:solidFill>
                  <a:srgbClr val="FFFFFF"/>
                </a:solidFill>
                <a:ea typeface="Calibri" panose="020F0502020204030204" pitchFamily="34" charset="0"/>
                <a:cs typeface="Calibri" panose="020F0502020204030204" pitchFamily="34" charset="0"/>
              </a:rPr>
              <a:t>Git, Visual Studio Online and GitHub</a:t>
            </a:r>
          </a:p>
          <a:p>
            <a:pPr>
              <a:spcAft>
                <a:spcPts val="300"/>
              </a:spcAft>
              <a:defRPr/>
            </a:pPr>
            <a:r>
              <a:rPr lang="en-US" sz="1400" dirty="0" smtClean="0">
                <a:solidFill>
                  <a:srgbClr val="FFFFFF"/>
                </a:solidFill>
                <a:ea typeface="Calibri" panose="020F0502020204030204" pitchFamily="34" charset="0"/>
                <a:cs typeface="Calibri" panose="020F0502020204030204" pitchFamily="34" charset="0"/>
              </a:rPr>
              <a:t>App &amp; Site Diagnostics</a:t>
            </a:r>
          </a:p>
          <a:p>
            <a:pPr>
              <a:spcAft>
                <a:spcPts val="300"/>
              </a:spcAft>
              <a:defRPr/>
            </a:pPr>
            <a:r>
              <a:rPr lang="en-US" sz="1400" dirty="0" smtClean="0">
                <a:solidFill>
                  <a:srgbClr val="FFFFFF"/>
                </a:solidFill>
                <a:ea typeface="Calibri" panose="020F0502020204030204" pitchFamily="34" charset="0"/>
                <a:cs typeface="Calibri" panose="020F0502020204030204" pitchFamily="34" charset="0"/>
              </a:rPr>
              <a:t>OS &amp; Framework Patching  </a:t>
            </a:r>
          </a:p>
          <a:p>
            <a:pPr>
              <a:spcAft>
                <a:spcPts val="300"/>
              </a:spcAft>
              <a:defRPr/>
            </a:pPr>
            <a:r>
              <a:rPr lang="en-US" sz="1400" dirty="0" smtClean="0">
                <a:solidFill>
                  <a:srgbClr val="FFFFFF"/>
                </a:solidFill>
                <a:ea typeface="Calibri" panose="020F0502020204030204" pitchFamily="34" charset="0"/>
                <a:cs typeface="Calibri" panose="020F0502020204030204" pitchFamily="34" charset="0"/>
              </a:rPr>
              <a:t>Site </a:t>
            </a:r>
            <a:r>
              <a:rPr lang="en-US" sz="1400" dirty="0">
                <a:solidFill>
                  <a:srgbClr val="FFFFFF"/>
                </a:solidFill>
                <a:ea typeface="Calibri" panose="020F0502020204030204" pitchFamily="34" charset="0"/>
                <a:cs typeface="Calibri" panose="020F0502020204030204" pitchFamily="34" charset="0"/>
              </a:rPr>
              <a:t>Extensions Gallery </a:t>
            </a:r>
          </a:p>
          <a:p>
            <a:pPr>
              <a:spcAft>
                <a:spcPts val="300"/>
              </a:spcAft>
              <a:defRPr/>
            </a:pPr>
            <a:r>
              <a:rPr lang="en-US" sz="1400" dirty="0" smtClean="0">
                <a:solidFill>
                  <a:srgbClr val="FFFFFF"/>
                </a:solidFill>
                <a:ea typeface="Calibri" panose="020F0502020204030204" pitchFamily="34" charset="0"/>
                <a:cs typeface="Calibri" panose="020F0502020204030204" pitchFamily="34" charset="0"/>
              </a:rPr>
              <a:t>NET</a:t>
            </a:r>
            <a:r>
              <a:rPr lang="en-US" sz="1400" dirty="0">
                <a:solidFill>
                  <a:srgbClr val="FFFFFF"/>
                </a:solidFill>
                <a:ea typeface="Calibri" panose="020F0502020204030204" pitchFamily="34" charset="0"/>
                <a:cs typeface="Calibri" panose="020F0502020204030204" pitchFamily="34" charset="0"/>
              </a:rPr>
              <a:t>, PHP, Python, Node, Java</a:t>
            </a:r>
          </a:p>
          <a:p>
            <a:pPr>
              <a:spcAft>
                <a:spcPts val="300"/>
              </a:spcAft>
              <a:defRPr/>
            </a:pPr>
            <a:r>
              <a:rPr lang="en-US" sz="1400" dirty="0" smtClean="0">
                <a:solidFill>
                  <a:srgbClr val="FFFFFF"/>
                </a:solidFill>
                <a:ea typeface="Calibri" panose="020F0502020204030204" pitchFamily="34" charset="0"/>
                <a:cs typeface="Calibri" panose="020F0502020204030204" pitchFamily="34" charset="0"/>
              </a:rPr>
              <a:t>Framework </a:t>
            </a:r>
            <a:r>
              <a:rPr lang="en-US" sz="1400" dirty="0">
                <a:solidFill>
                  <a:srgbClr val="FFFFFF"/>
                </a:solidFill>
                <a:ea typeface="Calibri" panose="020F0502020204030204" pitchFamily="34" charset="0"/>
                <a:cs typeface="Calibri" panose="020F0502020204030204" pitchFamily="34" charset="0"/>
              </a:rPr>
              <a:t>Installer</a:t>
            </a:r>
          </a:p>
          <a:p>
            <a:pPr>
              <a:spcAft>
                <a:spcPts val="300"/>
              </a:spcAft>
              <a:defRPr/>
            </a:pPr>
            <a:r>
              <a:rPr lang="en-US" sz="1400" dirty="0" smtClean="0">
                <a:solidFill>
                  <a:srgbClr val="FFFFFF"/>
                </a:solidFill>
                <a:ea typeface="Calibri" panose="020F0502020204030204" pitchFamily="34" charset="0"/>
                <a:cs typeface="Calibri" panose="020F0502020204030204" pitchFamily="34" charset="0"/>
              </a:rPr>
              <a:t>Browser-based </a:t>
            </a:r>
            <a:r>
              <a:rPr lang="en-US" sz="1400" dirty="0">
                <a:solidFill>
                  <a:srgbClr val="FFFFFF"/>
                </a:solidFill>
                <a:ea typeface="Calibri" panose="020F0502020204030204" pitchFamily="34" charset="0"/>
                <a:cs typeface="Calibri" panose="020F0502020204030204" pitchFamily="34" charset="0"/>
              </a:rPr>
              <a:t>editing</a:t>
            </a:r>
          </a:p>
          <a:p>
            <a:pPr>
              <a:spcAft>
                <a:spcPts val="300"/>
              </a:spcAft>
              <a:defRPr/>
            </a:pPr>
            <a:r>
              <a:rPr lang="en-US" sz="1400" dirty="0" smtClean="0">
                <a:solidFill>
                  <a:srgbClr val="FFFFFF"/>
                </a:solidFill>
                <a:ea typeface="Calibri" panose="020F0502020204030204" pitchFamily="34" charset="0"/>
                <a:cs typeface="Calibri" panose="020F0502020204030204" pitchFamily="34" charset="0"/>
              </a:rPr>
              <a:t>Auto-Healing</a:t>
            </a:r>
            <a:endParaRPr lang="en-US" sz="1400" dirty="0">
              <a:solidFill>
                <a:srgbClr val="FFFFFF"/>
              </a:solidFill>
              <a:ea typeface="Calibri" panose="020F0502020204030204" pitchFamily="34" charset="0"/>
              <a:cs typeface="Calibri" panose="020F0502020204030204" pitchFamily="34" charset="0"/>
            </a:endParaRPr>
          </a:p>
          <a:p>
            <a:pPr>
              <a:spcAft>
                <a:spcPts val="300"/>
              </a:spcAft>
              <a:defRPr/>
            </a:pPr>
            <a:r>
              <a:rPr lang="en-US" sz="1400" dirty="0" smtClean="0">
                <a:solidFill>
                  <a:srgbClr val="FFFFFF"/>
                </a:solidFill>
                <a:ea typeface="Calibri" panose="020F0502020204030204" pitchFamily="34" charset="0"/>
                <a:cs typeface="Calibri" panose="020F0502020204030204" pitchFamily="34" charset="0"/>
              </a:rPr>
              <a:t>Logging </a:t>
            </a:r>
            <a:r>
              <a:rPr lang="en-US" sz="1400" dirty="0">
                <a:solidFill>
                  <a:srgbClr val="FFFFFF"/>
                </a:solidFill>
                <a:ea typeface="Calibri" panose="020F0502020204030204" pitchFamily="34" charset="0"/>
                <a:cs typeface="Calibri" panose="020F0502020204030204" pitchFamily="34" charset="0"/>
              </a:rPr>
              <a:t>and Auditing </a:t>
            </a:r>
          </a:p>
          <a:p>
            <a:pPr>
              <a:spcAft>
                <a:spcPts val="300"/>
              </a:spcAft>
              <a:defRPr/>
            </a:pPr>
            <a:endParaRPr lang="en-US" sz="1400" dirty="0">
              <a:solidFill>
                <a:srgbClr val="FFFFFF"/>
              </a:solidFill>
              <a:ea typeface="Calibri" panose="020F0502020204030204" pitchFamily="34" charset="0"/>
              <a:cs typeface="Calibri" panose="020F0502020204030204" pitchFamily="34" charset="0"/>
            </a:endParaRPr>
          </a:p>
        </p:txBody>
      </p:sp>
      <p:grpSp>
        <p:nvGrpSpPr>
          <p:cNvPr id="5" name="Group 4"/>
          <p:cNvGrpSpPr/>
          <p:nvPr/>
        </p:nvGrpSpPr>
        <p:grpSpPr>
          <a:xfrm>
            <a:off x="677772" y="1510272"/>
            <a:ext cx="6661492" cy="4478152"/>
            <a:chOff x="677772" y="1510272"/>
            <a:chExt cx="6661492" cy="2634747"/>
          </a:xfrm>
        </p:grpSpPr>
        <p:sp>
          <p:nvSpPr>
            <p:cNvPr id="4" name="Rectangle 3"/>
            <p:cNvSpPr/>
            <p:nvPr/>
          </p:nvSpPr>
          <p:spPr>
            <a:xfrm>
              <a:off x="677772" y="1510272"/>
              <a:ext cx="92249" cy="263474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5" name="Rectangle 14"/>
            <p:cNvSpPr/>
            <p:nvPr/>
          </p:nvSpPr>
          <p:spPr>
            <a:xfrm>
              <a:off x="3974425" y="1510272"/>
              <a:ext cx="92249" cy="2634747"/>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6" name="Rectangle 15"/>
            <p:cNvSpPr/>
            <p:nvPr/>
          </p:nvSpPr>
          <p:spPr>
            <a:xfrm>
              <a:off x="7247015" y="1510272"/>
              <a:ext cx="92249" cy="2634747"/>
            </a:xfrm>
            <a:prstGeom prst="rect">
              <a:avLst/>
            </a:prstGeom>
            <a:solidFill>
              <a:srgbClr val="E34F2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
        <p:nvSpPr>
          <p:cNvPr id="17" name="TextBox 16"/>
          <p:cNvSpPr txBox="1"/>
          <p:nvPr/>
        </p:nvSpPr>
        <p:spPr>
          <a:xfrm>
            <a:off x="560798" y="6249850"/>
            <a:ext cx="5493299" cy="276999"/>
          </a:xfrm>
          <a:prstGeom prst="rect">
            <a:avLst/>
          </a:prstGeom>
          <a:noFill/>
        </p:spPr>
        <p:txBody>
          <a:bodyPr wrap="none" rtlCol="0">
            <a:spAutoFit/>
          </a:bodyPr>
          <a:lstStyle/>
          <a:p>
            <a:pPr>
              <a:defRPr/>
            </a:pPr>
            <a:r>
              <a:rPr lang="en-US" sz="1200" b="1" dirty="0" smtClean="0">
                <a:solidFill>
                  <a:srgbClr val="FFFFFF"/>
                </a:solidFill>
              </a:rPr>
              <a:t>Note: </a:t>
            </a:r>
            <a:r>
              <a:rPr lang="en-US" sz="1200" dirty="0" smtClean="0">
                <a:solidFill>
                  <a:srgbClr val="FFFFFF"/>
                </a:solidFill>
              </a:rPr>
              <a:t>Features to discuss today are in </a:t>
            </a:r>
            <a:r>
              <a:rPr lang="en-US" sz="1200" b="1" dirty="0" smtClean="0">
                <a:solidFill>
                  <a:srgbClr val="FFFFFF"/>
                </a:solidFill>
              </a:rPr>
              <a:t>BOLD.  </a:t>
            </a:r>
            <a:r>
              <a:rPr lang="en-US" sz="1200" dirty="0" smtClean="0">
                <a:solidFill>
                  <a:srgbClr val="FFFFFF"/>
                </a:solidFill>
              </a:rPr>
              <a:t>Items with a * are to be released</a:t>
            </a:r>
            <a:endParaRPr lang="en-US" sz="1200" dirty="0">
              <a:solidFill>
                <a:srgbClr val="FFFFFF"/>
              </a:solidFill>
            </a:endParaRPr>
          </a:p>
        </p:txBody>
      </p:sp>
    </p:spTree>
    <p:extLst>
      <p:ext uri="{BB962C8B-B14F-4D97-AF65-F5344CB8AC3E}">
        <p14:creationId xmlns:p14="http://schemas.microsoft.com/office/powerpoint/2010/main" val="2687266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Site Extensions</a:t>
            </a:r>
            <a:endParaRPr lang="en-US" dirty="0"/>
          </a:p>
        </p:txBody>
      </p:sp>
      <p:sp>
        <p:nvSpPr>
          <p:cNvPr id="4" name="Rectangle 3"/>
          <p:cNvSpPr/>
          <p:nvPr/>
        </p:nvSpPr>
        <p:spPr bwMode="auto">
          <a:xfrm>
            <a:off x="568047" y="5072445"/>
            <a:ext cx="10682396" cy="747021"/>
          </a:xfrm>
          <a:prstGeom prst="rect">
            <a:avLst/>
          </a:prstGeom>
          <a:ln>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rot="0" spcFirstLastPara="0" vertOverflow="overflow" horzOverflow="overflow" vert="horz" wrap="square" lIns="179285" tIns="143428" rIns="179285" bIns="143428" numCol="1" spcCol="0" rtlCol="0" fromWordArt="0" anchor="ctr" anchorCtr="1"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Azure Web Site</a:t>
            </a:r>
          </a:p>
        </p:txBody>
      </p:sp>
      <p:sp>
        <p:nvSpPr>
          <p:cNvPr id="5" name="Rectangle 4"/>
          <p:cNvSpPr/>
          <p:nvPr/>
        </p:nvSpPr>
        <p:spPr bwMode="auto">
          <a:xfrm>
            <a:off x="568047" y="2161909"/>
            <a:ext cx="2921608" cy="2835835"/>
          </a:xfrm>
          <a:prstGeom prst="rect">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rot="0" spcFirstLastPara="0" vertOverflow="overflow" horzOverflow="overflow" vert="horz" wrap="square" lIns="179285" tIns="143428" rIns="179285" bIns="143428" numCol="1" spcCol="0" rtlCol="0" fromWordArt="0" anchor="ctr" anchorCtr="1"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User Site</a:t>
            </a:r>
          </a:p>
        </p:txBody>
      </p:sp>
      <p:sp>
        <p:nvSpPr>
          <p:cNvPr id="6" name="Rectangle 5"/>
          <p:cNvSpPr/>
          <p:nvPr/>
        </p:nvSpPr>
        <p:spPr bwMode="auto">
          <a:xfrm>
            <a:off x="3556130" y="4101319"/>
            <a:ext cx="3789640" cy="896425"/>
          </a:xfrm>
          <a:prstGeom prst="rect">
            <a:avLst/>
          </a:prstGeom>
          <a:ln>
            <a:headEnd type="none" w="med" len="med"/>
            <a:tailEnd type="none" w="med" len="med"/>
          </a:ln>
        </p:spPr>
        <p:style>
          <a:lnRef idx="0">
            <a:schemeClr val="dk1"/>
          </a:lnRef>
          <a:fillRef idx="3">
            <a:schemeClr val="dk1"/>
          </a:fillRef>
          <a:effectRef idx="3">
            <a:schemeClr val="dk1"/>
          </a:effectRef>
          <a:fontRef idx="minor">
            <a:schemeClr val="lt1"/>
          </a:fontRef>
        </p:style>
        <p:txBody>
          <a:bodyPr rot="0" spcFirstLastPara="0" vertOverflow="overflow" horzOverflow="overflow" vert="horz" wrap="square" lIns="179285" tIns="143428" rIns="179285" bIns="143428" numCol="1" spcCol="0" rtlCol="0" fromWordArt="0" anchor="ctr" anchorCtr="1"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Pre-installed</a:t>
            </a:r>
          </a:p>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Site Extensions</a:t>
            </a:r>
          </a:p>
        </p:txBody>
      </p:sp>
      <p:sp>
        <p:nvSpPr>
          <p:cNvPr id="7" name="Rectangle 6"/>
          <p:cNvSpPr/>
          <p:nvPr/>
        </p:nvSpPr>
        <p:spPr bwMode="auto">
          <a:xfrm>
            <a:off x="3556130" y="3130192"/>
            <a:ext cx="1714436" cy="896425"/>
          </a:xfrm>
          <a:prstGeom prst="rect">
            <a:avLst/>
          </a:prstGeom>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179285" tIns="143428" rIns="179285" bIns="143428" numCol="1" spcCol="0" rtlCol="0" fromWordArt="0" anchor="ctr" anchorCtr="1"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Kudu”</a:t>
            </a:r>
          </a:p>
        </p:txBody>
      </p:sp>
      <p:sp>
        <p:nvSpPr>
          <p:cNvPr id="8" name="Rectangle 7"/>
          <p:cNvSpPr/>
          <p:nvPr/>
        </p:nvSpPr>
        <p:spPr bwMode="auto">
          <a:xfrm>
            <a:off x="3556130" y="2161909"/>
            <a:ext cx="1714436" cy="896425"/>
          </a:xfrm>
          <a:prstGeom prst="rect">
            <a:avLst/>
          </a:prstGeom>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179285" tIns="143428" rIns="179285" bIns="143428" numCol="1" spcCol="0" rtlCol="0" fromWordArt="0" anchor="ctr" anchorCtr="1"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Monaco”</a:t>
            </a:r>
          </a:p>
        </p:txBody>
      </p:sp>
      <p:sp>
        <p:nvSpPr>
          <p:cNvPr id="9" name="Rectangle 8"/>
          <p:cNvSpPr/>
          <p:nvPr/>
        </p:nvSpPr>
        <p:spPr bwMode="auto">
          <a:xfrm>
            <a:off x="5348979" y="3130192"/>
            <a:ext cx="1996790" cy="896425"/>
          </a:xfrm>
          <a:prstGeom prst="rect">
            <a:avLst/>
          </a:prstGeom>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179285" tIns="143428" rIns="179285" bIns="143428" numCol="1" spcCol="0" rtlCol="0" fromWordArt="0" anchor="ctr" anchorCtr="1"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WebJobs</a:t>
            </a:r>
          </a:p>
        </p:txBody>
      </p:sp>
      <p:sp>
        <p:nvSpPr>
          <p:cNvPr id="10" name="Rectangle 9"/>
          <p:cNvSpPr/>
          <p:nvPr/>
        </p:nvSpPr>
        <p:spPr bwMode="auto">
          <a:xfrm>
            <a:off x="5348979" y="2159065"/>
            <a:ext cx="1996790" cy="896425"/>
          </a:xfrm>
          <a:prstGeom prst="rect">
            <a:avLst/>
          </a:prstGeom>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179285" tIns="143428" rIns="179285" bIns="143428" numCol="1" spcCol="0" rtlCol="0" fromWordArt="0" anchor="ctr" anchorCtr="1" forceAA="0" compatLnSpc="1">
            <a:prstTxWarp prst="textNoShape">
              <a:avLst/>
            </a:prstTxWarp>
            <a:noAutofit/>
          </a:bodyPr>
          <a:lstStyle/>
          <a:p>
            <a:pPr algn="ctr" defTabSz="914102" fontAlgn="base">
              <a:lnSpc>
                <a:spcPct val="90000"/>
              </a:lnSpc>
              <a:spcBef>
                <a:spcPct val="0"/>
              </a:spcBef>
              <a:spcAft>
                <a:spcPct val="0"/>
              </a:spcAft>
            </a:pPr>
            <a:r>
              <a:rPr lang="en-US" sz="2353" dirty="0" err="1">
                <a:gradFill>
                  <a:gsLst>
                    <a:gs pos="0">
                      <a:srgbClr val="FFFFFF"/>
                    </a:gs>
                    <a:gs pos="100000">
                      <a:srgbClr val="FFFFFF"/>
                    </a:gs>
                  </a:gsLst>
                  <a:lin ang="5400000" scaled="0"/>
                </a:gradFill>
                <a:ea typeface="Segoe UI" pitchFamily="34" charset="0"/>
                <a:cs typeface="Segoe UI" pitchFamily="34" charset="0"/>
              </a:rPr>
              <a:t>WebDeploy</a:t>
            </a: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nvSpPr>
        <p:spPr bwMode="auto">
          <a:xfrm>
            <a:off x="7424183" y="4101319"/>
            <a:ext cx="3826260" cy="893581"/>
          </a:xfrm>
          <a:prstGeom prst="rect">
            <a:avLst/>
          </a:prstGeom>
          <a:ln>
            <a:headEnd type="none" w="med" len="med"/>
            <a:tailEnd type="none" w="med" len="med"/>
          </a:ln>
        </p:spPr>
        <p:style>
          <a:lnRef idx="0">
            <a:schemeClr val="dk1"/>
          </a:lnRef>
          <a:fillRef idx="3">
            <a:schemeClr val="dk1"/>
          </a:fillRef>
          <a:effectRef idx="3">
            <a:schemeClr val="dk1"/>
          </a:effectRef>
          <a:fontRef idx="minor">
            <a:schemeClr val="lt1"/>
          </a:fontRef>
        </p:style>
        <p:txBody>
          <a:bodyPr rot="0" spcFirstLastPara="0" vertOverflow="overflow" horzOverflow="overflow" vert="horz" wrap="square" lIns="179285" tIns="143428" rIns="179285" bIns="143428" numCol="1" spcCol="0" rtlCol="0" fromWordArt="0" anchor="ctr" anchorCtr="1"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Bring your own”</a:t>
            </a:r>
          </a:p>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Site Extensions</a:t>
            </a:r>
          </a:p>
        </p:txBody>
      </p:sp>
      <p:sp>
        <p:nvSpPr>
          <p:cNvPr id="12" name="Rectangle 11"/>
          <p:cNvSpPr/>
          <p:nvPr/>
        </p:nvSpPr>
        <p:spPr bwMode="auto">
          <a:xfrm>
            <a:off x="7424183" y="2164753"/>
            <a:ext cx="1780911" cy="1856176"/>
          </a:xfrm>
          <a:prstGeom prst="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179285" tIns="143428" rIns="179285" bIns="143428" numCol="1" spcCol="0" rtlCol="0" fromWordArt="0" anchor="ctr" anchorCtr="1"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Upload to site</a:t>
            </a:r>
          </a:p>
        </p:txBody>
      </p:sp>
      <p:sp>
        <p:nvSpPr>
          <p:cNvPr id="13" name="Rectangle 12"/>
          <p:cNvSpPr/>
          <p:nvPr/>
        </p:nvSpPr>
        <p:spPr bwMode="auto">
          <a:xfrm>
            <a:off x="9283508" y="2164753"/>
            <a:ext cx="1950356" cy="1861864"/>
          </a:xfrm>
          <a:prstGeom prst="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179285" tIns="143428" rIns="179285" bIns="143428" numCol="1" spcCol="0" rtlCol="0" fromWordArt="0" anchor="ctr" anchorCtr="1"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Install from gallery</a:t>
            </a:r>
          </a:p>
        </p:txBody>
      </p:sp>
      <p:sp>
        <p:nvSpPr>
          <p:cNvPr id="14" name="TextBox 13"/>
          <p:cNvSpPr txBox="1"/>
          <p:nvPr/>
        </p:nvSpPr>
        <p:spPr>
          <a:xfrm>
            <a:off x="505284" y="1514973"/>
            <a:ext cx="3349654" cy="615522"/>
          </a:xfrm>
          <a:prstGeom prst="rect">
            <a:avLst/>
          </a:prstGeom>
          <a:noFill/>
        </p:spPr>
        <p:txBody>
          <a:bodyPr wrap="square" lIns="179285" tIns="143428" rIns="179285" bIns="143428" rtlCol="0">
            <a:spAutoFit/>
          </a:bodyPr>
          <a:lstStyle/>
          <a:p>
            <a:pPr>
              <a:lnSpc>
                <a:spcPct val="90000"/>
              </a:lnSpc>
              <a:spcAft>
                <a:spcPts val="588"/>
              </a:spcAft>
            </a:pPr>
            <a:r>
              <a:rPr lang="en-US" sz="2353" dirty="0">
                <a:solidFill>
                  <a:srgbClr val="FFFFFF"/>
                </a:solidFill>
              </a:rPr>
              <a:t>foo.azurewebsites.net</a:t>
            </a:r>
          </a:p>
        </p:txBody>
      </p:sp>
      <p:sp>
        <p:nvSpPr>
          <p:cNvPr id="15" name="TextBox 14"/>
          <p:cNvSpPr txBox="1"/>
          <p:nvPr/>
        </p:nvSpPr>
        <p:spPr>
          <a:xfrm>
            <a:off x="5274277" y="1514973"/>
            <a:ext cx="3884508" cy="615522"/>
          </a:xfrm>
          <a:prstGeom prst="rect">
            <a:avLst/>
          </a:prstGeom>
          <a:noFill/>
        </p:spPr>
        <p:txBody>
          <a:bodyPr wrap="square" lIns="179285" tIns="143428" rIns="179285" bIns="143428" rtlCol="0">
            <a:spAutoFit/>
          </a:bodyPr>
          <a:lstStyle/>
          <a:p>
            <a:pPr>
              <a:lnSpc>
                <a:spcPct val="90000"/>
              </a:lnSpc>
              <a:spcAft>
                <a:spcPts val="588"/>
              </a:spcAft>
            </a:pPr>
            <a:r>
              <a:rPr lang="en-US" sz="2353" dirty="0">
                <a:solidFill>
                  <a:srgbClr val="FFFFFF"/>
                </a:solidFill>
              </a:rPr>
              <a:t>foo.</a:t>
            </a:r>
            <a:r>
              <a:rPr lang="en-US" sz="2353" b="1" dirty="0">
                <a:solidFill>
                  <a:srgbClr val="FFFFFF"/>
                </a:solidFill>
              </a:rPr>
              <a:t>scm</a:t>
            </a:r>
            <a:r>
              <a:rPr lang="en-US" sz="2353" dirty="0">
                <a:solidFill>
                  <a:srgbClr val="FFFFFF"/>
                </a:solidFill>
              </a:rPr>
              <a:t>.azurewebsites.net</a:t>
            </a:r>
          </a:p>
        </p:txBody>
      </p:sp>
    </p:spTree>
    <p:extLst>
      <p:ext uri="{BB962C8B-B14F-4D97-AF65-F5344CB8AC3E}">
        <p14:creationId xmlns:p14="http://schemas.microsoft.com/office/powerpoint/2010/main" val="26282724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500"/>
                                        <p:tgtEl>
                                          <p:spTgt spid="15"/>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500"/>
                                        <p:tgtEl>
                                          <p:spTgt spid="7"/>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fade">
                                      <p:cBhvr>
                                        <p:cTn id="22" dur="500"/>
                                        <p:tgtEl>
                                          <p:spTgt spid="6"/>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500"/>
                                        <p:tgtEl>
                                          <p:spTgt spid="11"/>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2"/>
                                        </p:tgtEl>
                                        <p:attrNameLst>
                                          <p:attrName>style.visibility</p:attrName>
                                        </p:attrNameLst>
                                      </p:cBhvr>
                                      <p:to>
                                        <p:strVal val="visible"/>
                                      </p:to>
                                    </p:set>
                                    <p:animEffect transition="in" filter="fade">
                                      <p:cBhvr>
                                        <p:cTn id="30" dur="500"/>
                                        <p:tgtEl>
                                          <p:spTgt spid="12"/>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fade">
                                      <p:cBhvr>
                                        <p:cTn id="35"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P spid="11" grpId="0" animBg="1"/>
      <p:bldP spid="12" grpId="0" animBg="1"/>
      <p:bldP spid="13" grpId="0" animBg="1"/>
      <p:bldP spid="15"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1189495"/>
            <a:ext cx="11653523" cy="724143"/>
          </a:xfrm>
        </p:spPr>
        <p:txBody>
          <a:bodyPr/>
          <a:lstStyle/>
          <a:p>
            <a:r>
              <a:rPr lang="en-US" dirty="0" smtClean="0"/>
              <a:t>Staged Publishing</a:t>
            </a:r>
          </a:p>
        </p:txBody>
      </p:sp>
      <p:sp>
        <p:nvSpPr>
          <p:cNvPr id="2" name="Title 1"/>
          <p:cNvSpPr>
            <a:spLocks noGrp="1"/>
          </p:cNvSpPr>
          <p:nvPr>
            <p:ph type="title"/>
          </p:nvPr>
        </p:nvSpPr>
        <p:spPr/>
        <p:txBody>
          <a:bodyPr/>
          <a:lstStyle/>
          <a:p>
            <a:r>
              <a:rPr lang="en-US" dirty="0"/>
              <a:t>I- Development and Deployment</a:t>
            </a:r>
            <a:br>
              <a:rPr lang="en-US" dirty="0"/>
            </a:br>
            <a:endParaRPr lang="en-US" dirty="0"/>
          </a:p>
        </p:txBody>
      </p:sp>
      <p:cxnSp>
        <p:nvCxnSpPr>
          <p:cNvPr id="4" name="Straight Arrow Connector 3"/>
          <p:cNvCxnSpPr>
            <a:stCxn id="14" idx="0"/>
            <a:endCxn id="7" idx="2"/>
          </p:cNvCxnSpPr>
          <p:nvPr/>
        </p:nvCxnSpPr>
        <p:spPr>
          <a:xfrm flipV="1">
            <a:off x="8471052" y="4125360"/>
            <a:ext cx="3142" cy="72457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 name="Straight Arrow Connector 4"/>
          <p:cNvCxnSpPr>
            <a:stCxn id="10" idx="2"/>
            <a:endCxn id="7" idx="0"/>
          </p:cNvCxnSpPr>
          <p:nvPr/>
        </p:nvCxnSpPr>
        <p:spPr>
          <a:xfrm flipH="1">
            <a:off x="8474193" y="3055490"/>
            <a:ext cx="4908" cy="32285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8098225" y="3378340"/>
            <a:ext cx="2016956" cy="747021"/>
            <a:chOff x="7513637" y="4106862"/>
            <a:chExt cx="2057400" cy="762000"/>
          </a:xfrm>
        </p:grpSpPr>
        <p:pic>
          <p:nvPicPr>
            <p:cNvPr id="7" name="Picture 6"/>
            <p:cNvPicPr>
              <a:picLocks noChangeAspect="1"/>
            </p:cNvPicPr>
            <p:nvPr/>
          </p:nvPicPr>
          <p:blipFill>
            <a:blip r:embed="rId3"/>
            <a:stretch>
              <a:fillRect/>
            </a:stretch>
          </p:blipFill>
          <p:spPr>
            <a:xfrm>
              <a:off x="7513637" y="4106862"/>
              <a:ext cx="767014" cy="762000"/>
            </a:xfrm>
            <a:prstGeom prst="rect">
              <a:avLst/>
            </a:prstGeom>
          </p:spPr>
        </p:pic>
        <p:sp>
          <p:nvSpPr>
            <p:cNvPr id="8" name="TextBox 7"/>
            <p:cNvSpPr txBox="1"/>
            <p:nvPr/>
          </p:nvSpPr>
          <p:spPr>
            <a:xfrm>
              <a:off x="8317003" y="4262676"/>
              <a:ext cx="1254034" cy="369332"/>
            </a:xfrm>
            <a:prstGeom prst="rect">
              <a:avLst/>
            </a:prstGeom>
            <a:noFill/>
          </p:spPr>
          <p:txBody>
            <a:bodyPr wrap="square" rtlCol="0">
              <a:spAutoFit/>
            </a:bodyPr>
            <a:lstStyle/>
            <a:p>
              <a:r>
                <a:rPr lang="en-US" sz="1765" dirty="0">
                  <a:solidFill>
                    <a:srgbClr val="00ABEC"/>
                  </a:solidFill>
                </a:rPr>
                <a:t>Staging</a:t>
              </a:r>
            </a:p>
          </p:txBody>
        </p:sp>
      </p:grpSp>
      <p:grpSp>
        <p:nvGrpSpPr>
          <p:cNvPr id="9" name="Group 8"/>
          <p:cNvGrpSpPr/>
          <p:nvPr/>
        </p:nvGrpSpPr>
        <p:grpSpPr>
          <a:xfrm>
            <a:off x="8103133" y="2308469"/>
            <a:ext cx="2101481" cy="747021"/>
            <a:chOff x="7513637" y="4106862"/>
            <a:chExt cx="2143620" cy="762000"/>
          </a:xfrm>
        </p:grpSpPr>
        <p:pic>
          <p:nvPicPr>
            <p:cNvPr id="10" name="Picture 9"/>
            <p:cNvPicPr>
              <a:picLocks noChangeAspect="1"/>
            </p:cNvPicPr>
            <p:nvPr/>
          </p:nvPicPr>
          <p:blipFill>
            <a:blip r:embed="rId3"/>
            <a:stretch>
              <a:fillRect/>
            </a:stretch>
          </p:blipFill>
          <p:spPr>
            <a:xfrm>
              <a:off x="7513637" y="4106862"/>
              <a:ext cx="767014" cy="762000"/>
            </a:xfrm>
            <a:prstGeom prst="rect">
              <a:avLst/>
            </a:prstGeom>
          </p:spPr>
        </p:pic>
        <p:sp>
          <p:nvSpPr>
            <p:cNvPr id="11" name="TextBox 10"/>
            <p:cNvSpPr txBox="1"/>
            <p:nvPr/>
          </p:nvSpPr>
          <p:spPr>
            <a:xfrm>
              <a:off x="8317003" y="4262676"/>
              <a:ext cx="1340254" cy="369332"/>
            </a:xfrm>
            <a:prstGeom prst="rect">
              <a:avLst/>
            </a:prstGeom>
            <a:noFill/>
          </p:spPr>
          <p:txBody>
            <a:bodyPr wrap="square" rtlCol="0">
              <a:spAutoFit/>
            </a:bodyPr>
            <a:lstStyle/>
            <a:p>
              <a:r>
                <a:rPr lang="en-US" sz="1765" dirty="0">
                  <a:solidFill>
                    <a:srgbClr val="00ABEC"/>
                  </a:solidFill>
                </a:rPr>
                <a:t>Production</a:t>
              </a:r>
            </a:p>
          </p:txBody>
        </p:sp>
      </p:grpSp>
      <p:sp>
        <p:nvSpPr>
          <p:cNvPr id="12" name="TextBox 11"/>
          <p:cNvSpPr txBox="1"/>
          <p:nvPr/>
        </p:nvSpPr>
        <p:spPr>
          <a:xfrm>
            <a:off x="8606531" y="3014125"/>
            <a:ext cx="1229382" cy="362072"/>
          </a:xfrm>
          <a:prstGeom prst="rect">
            <a:avLst/>
          </a:prstGeom>
          <a:noFill/>
        </p:spPr>
        <p:txBody>
          <a:bodyPr wrap="square" rtlCol="0">
            <a:spAutoFit/>
          </a:bodyPr>
          <a:lstStyle/>
          <a:p>
            <a:r>
              <a:rPr lang="en-US" sz="1765" dirty="0">
                <a:solidFill>
                  <a:srgbClr val="FFFFFF">
                    <a:lumMod val="50000"/>
                  </a:srgbClr>
                </a:solidFill>
              </a:rPr>
              <a:t>swap</a:t>
            </a:r>
          </a:p>
        </p:txBody>
      </p:sp>
      <p:grpSp>
        <p:nvGrpSpPr>
          <p:cNvPr id="13" name="Group 12"/>
          <p:cNvGrpSpPr/>
          <p:nvPr/>
        </p:nvGrpSpPr>
        <p:grpSpPr>
          <a:xfrm>
            <a:off x="7839226" y="4849935"/>
            <a:ext cx="1269935" cy="866848"/>
            <a:chOff x="960437" y="5649364"/>
            <a:chExt cx="1295400" cy="884230"/>
          </a:xfrm>
        </p:grpSpPr>
        <p:pic>
          <p:nvPicPr>
            <p:cNvPr id="14" name="Picture 13"/>
            <p:cNvPicPr>
              <a:picLocks noChangeAspect="1"/>
            </p:cNvPicPr>
            <p:nvPr/>
          </p:nvPicPr>
          <p:blipFill>
            <a:blip r:embed="rId4"/>
            <a:stretch>
              <a:fillRect/>
            </a:stretch>
          </p:blipFill>
          <p:spPr>
            <a:xfrm>
              <a:off x="1265237" y="5649364"/>
              <a:ext cx="679390" cy="424786"/>
            </a:xfrm>
            <a:prstGeom prst="rect">
              <a:avLst/>
            </a:prstGeom>
          </p:spPr>
        </p:pic>
        <p:sp>
          <p:nvSpPr>
            <p:cNvPr id="15" name="TextBox 14"/>
            <p:cNvSpPr txBox="1"/>
            <p:nvPr/>
          </p:nvSpPr>
          <p:spPr>
            <a:xfrm>
              <a:off x="960437" y="6164262"/>
              <a:ext cx="1295400" cy="369332"/>
            </a:xfrm>
            <a:prstGeom prst="rect">
              <a:avLst/>
            </a:prstGeom>
            <a:noFill/>
          </p:spPr>
          <p:txBody>
            <a:bodyPr wrap="square" rtlCol="0">
              <a:spAutoFit/>
            </a:bodyPr>
            <a:lstStyle/>
            <a:p>
              <a:r>
                <a:rPr lang="en-US" sz="1765" dirty="0">
                  <a:solidFill>
                    <a:srgbClr val="FFFFFF">
                      <a:lumMod val="50000"/>
                    </a:srgbClr>
                  </a:solidFill>
                </a:rPr>
                <a:t> Developer</a:t>
              </a:r>
            </a:p>
          </p:txBody>
        </p:sp>
      </p:grpSp>
      <p:cxnSp>
        <p:nvCxnSpPr>
          <p:cNvPr id="16" name="Straight Arrow Connector 15"/>
          <p:cNvCxnSpPr>
            <a:stCxn id="26" idx="0"/>
            <a:endCxn id="19" idx="2"/>
          </p:cNvCxnSpPr>
          <p:nvPr/>
        </p:nvCxnSpPr>
        <p:spPr>
          <a:xfrm flipV="1">
            <a:off x="2910916" y="4125360"/>
            <a:ext cx="11886" cy="72457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8" name="Group 17"/>
          <p:cNvGrpSpPr/>
          <p:nvPr/>
        </p:nvGrpSpPr>
        <p:grpSpPr>
          <a:xfrm>
            <a:off x="2538090" y="3378340"/>
            <a:ext cx="2138570" cy="747021"/>
            <a:chOff x="7513637" y="4106862"/>
            <a:chExt cx="2131868" cy="762000"/>
          </a:xfrm>
        </p:grpSpPr>
        <p:pic>
          <p:nvPicPr>
            <p:cNvPr id="19" name="Picture 18"/>
            <p:cNvPicPr>
              <a:picLocks noChangeAspect="1"/>
            </p:cNvPicPr>
            <p:nvPr/>
          </p:nvPicPr>
          <p:blipFill>
            <a:blip r:embed="rId3"/>
            <a:stretch>
              <a:fillRect/>
            </a:stretch>
          </p:blipFill>
          <p:spPr>
            <a:xfrm>
              <a:off x="7513637" y="4106862"/>
              <a:ext cx="767014" cy="762000"/>
            </a:xfrm>
            <a:prstGeom prst="rect">
              <a:avLst/>
            </a:prstGeom>
          </p:spPr>
        </p:pic>
        <p:sp>
          <p:nvSpPr>
            <p:cNvPr id="20" name="TextBox 19"/>
            <p:cNvSpPr txBox="1"/>
            <p:nvPr/>
          </p:nvSpPr>
          <p:spPr>
            <a:xfrm>
              <a:off x="8317002" y="4262676"/>
              <a:ext cx="1328503" cy="369332"/>
            </a:xfrm>
            <a:prstGeom prst="rect">
              <a:avLst/>
            </a:prstGeom>
            <a:noFill/>
          </p:spPr>
          <p:txBody>
            <a:bodyPr wrap="square" rtlCol="0">
              <a:spAutoFit/>
            </a:bodyPr>
            <a:lstStyle/>
            <a:p>
              <a:r>
                <a:rPr lang="en-US" sz="1765" dirty="0">
                  <a:solidFill>
                    <a:srgbClr val="00ABEC"/>
                  </a:solidFill>
                </a:rPr>
                <a:t>Production</a:t>
              </a:r>
            </a:p>
          </p:txBody>
        </p:sp>
      </p:grpSp>
      <p:grpSp>
        <p:nvGrpSpPr>
          <p:cNvPr id="25" name="Group 24"/>
          <p:cNvGrpSpPr/>
          <p:nvPr/>
        </p:nvGrpSpPr>
        <p:grpSpPr>
          <a:xfrm>
            <a:off x="2279091" y="4849935"/>
            <a:ext cx="1269935" cy="866848"/>
            <a:chOff x="960437" y="5649364"/>
            <a:chExt cx="1295400" cy="884230"/>
          </a:xfrm>
        </p:grpSpPr>
        <p:pic>
          <p:nvPicPr>
            <p:cNvPr id="26" name="Picture 25"/>
            <p:cNvPicPr>
              <a:picLocks noChangeAspect="1"/>
            </p:cNvPicPr>
            <p:nvPr/>
          </p:nvPicPr>
          <p:blipFill>
            <a:blip r:embed="rId4"/>
            <a:stretch>
              <a:fillRect/>
            </a:stretch>
          </p:blipFill>
          <p:spPr>
            <a:xfrm>
              <a:off x="1265237" y="5649364"/>
              <a:ext cx="679390" cy="424786"/>
            </a:xfrm>
            <a:prstGeom prst="rect">
              <a:avLst/>
            </a:prstGeom>
          </p:spPr>
        </p:pic>
        <p:sp>
          <p:nvSpPr>
            <p:cNvPr id="27" name="TextBox 26"/>
            <p:cNvSpPr txBox="1"/>
            <p:nvPr/>
          </p:nvSpPr>
          <p:spPr>
            <a:xfrm>
              <a:off x="960437" y="6164262"/>
              <a:ext cx="1295400" cy="369332"/>
            </a:xfrm>
            <a:prstGeom prst="rect">
              <a:avLst/>
            </a:prstGeom>
            <a:noFill/>
          </p:spPr>
          <p:txBody>
            <a:bodyPr wrap="square" rtlCol="0">
              <a:spAutoFit/>
            </a:bodyPr>
            <a:lstStyle/>
            <a:p>
              <a:r>
                <a:rPr lang="en-US" sz="1765" dirty="0">
                  <a:solidFill>
                    <a:srgbClr val="FFFFFF">
                      <a:lumMod val="50000"/>
                    </a:srgbClr>
                  </a:solidFill>
                </a:rPr>
                <a:t> Developer</a:t>
              </a:r>
            </a:p>
          </p:txBody>
        </p:sp>
      </p:grpSp>
      <p:sp>
        <p:nvSpPr>
          <p:cNvPr id="28" name="Rectangle 27"/>
          <p:cNvSpPr/>
          <p:nvPr/>
        </p:nvSpPr>
        <p:spPr bwMode="auto">
          <a:xfrm>
            <a:off x="1090961" y="2010843"/>
            <a:ext cx="4108614" cy="4556826"/>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9" name="Rectangle 28"/>
          <p:cNvSpPr/>
          <p:nvPr/>
        </p:nvSpPr>
        <p:spPr bwMode="auto">
          <a:xfrm>
            <a:off x="6432167" y="1391771"/>
            <a:ext cx="4108614" cy="517589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31" name="Straight Arrow Connector 30"/>
          <p:cNvCxnSpPr/>
          <p:nvPr/>
        </p:nvCxnSpPr>
        <p:spPr>
          <a:xfrm>
            <a:off x="1539174" y="2461220"/>
            <a:ext cx="1120531" cy="1069871"/>
          </a:xfrm>
          <a:prstGeom prst="straightConnector1">
            <a:avLst/>
          </a:prstGeom>
          <a:ln w="762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rot="2701888">
            <a:off x="1666771" y="2579890"/>
            <a:ext cx="1125816" cy="615522"/>
          </a:xfrm>
          <a:prstGeom prst="rect">
            <a:avLst/>
          </a:prstGeom>
          <a:noFill/>
        </p:spPr>
        <p:txBody>
          <a:bodyPr wrap="none" lIns="179285" tIns="143428" rIns="179285" bIns="143428" rtlCol="0">
            <a:spAutoFit/>
          </a:bodyPr>
          <a:lstStyle/>
          <a:p>
            <a:pPr>
              <a:lnSpc>
                <a:spcPct val="90000"/>
              </a:lnSpc>
              <a:spcAft>
                <a:spcPts val="588"/>
              </a:spcAft>
            </a:pPr>
            <a:r>
              <a:rPr lang="en-US" sz="2353" dirty="0">
                <a:gradFill>
                  <a:gsLst>
                    <a:gs pos="2917">
                      <a:srgbClr val="FFFFFF"/>
                    </a:gs>
                    <a:gs pos="30000">
                      <a:srgbClr val="FFFFFF"/>
                    </a:gs>
                  </a:gsLst>
                  <a:lin ang="5400000" scaled="0"/>
                </a:gradFill>
              </a:rPr>
              <a:t>traffic</a:t>
            </a:r>
          </a:p>
        </p:txBody>
      </p:sp>
      <p:cxnSp>
        <p:nvCxnSpPr>
          <p:cNvPr id="33" name="Straight Arrow Connector 32"/>
          <p:cNvCxnSpPr/>
          <p:nvPr/>
        </p:nvCxnSpPr>
        <p:spPr>
          <a:xfrm>
            <a:off x="7047341" y="1581094"/>
            <a:ext cx="1120531" cy="1069871"/>
          </a:xfrm>
          <a:prstGeom prst="straightConnector1">
            <a:avLst/>
          </a:prstGeom>
          <a:ln w="762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rot="2701888">
            <a:off x="7174938" y="1699765"/>
            <a:ext cx="1125816" cy="615522"/>
          </a:xfrm>
          <a:prstGeom prst="rect">
            <a:avLst/>
          </a:prstGeom>
          <a:noFill/>
        </p:spPr>
        <p:txBody>
          <a:bodyPr wrap="none" lIns="179285" tIns="143428" rIns="179285" bIns="143428" rtlCol="0">
            <a:spAutoFit/>
          </a:bodyPr>
          <a:lstStyle/>
          <a:p>
            <a:pPr>
              <a:lnSpc>
                <a:spcPct val="90000"/>
              </a:lnSpc>
              <a:spcAft>
                <a:spcPts val="588"/>
              </a:spcAft>
            </a:pPr>
            <a:r>
              <a:rPr lang="en-US" sz="2353" dirty="0">
                <a:gradFill>
                  <a:gsLst>
                    <a:gs pos="2917">
                      <a:srgbClr val="FFFFFF"/>
                    </a:gs>
                    <a:gs pos="30000">
                      <a:srgbClr val="FFFFFF"/>
                    </a:gs>
                  </a:gsLst>
                  <a:lin ang="5400000" scaled="0"/>
                </a:gradFill>
              </a:rPr>
              <a:t>traffic</a:t>
            </a:r>
          </a:p>
        </p:txBody>
      </p:sp>
    </p:spTree>
    <p:extLst>
      <p:ext uri="{BB962C8B-B14F-4D97-AF65-F5344CB8AC3E}">
        <p14:creationId xmlns:p14="http://schemas.microsoft.com/office/powerpoint/2010/main" val="2515593597"/>
      </p:ext>
    </p:extLst>
  </p:cSld>
  <p:clrMapOvr>
    <a:masterClrMapping/>
  </p:clrMapOvr>
  <p:transition spd="slow">
    <p:push/>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1189495"/>
            <a:ext cx="11653523" cy="1188802"/>
          </a:xfrm>
        </p:spPr>
        <p:txBody>
          <a:bodyPr/>
          <a:lstStyle/>
          <a:p>
            <a:r>
              <a:rPr lang="en-US" dirty="0" smtClean="0"/>
              <a:t>Testing in Production</a:t>
            </a:r>
            <a:endParaRPr lang="en-US" sz="2745" dirty="0"/>
          </a:p>
          <a:p>
            <a:pPr lvl="2"/>
            <a:endParaRPr lang="en-US" sz="2745" dirty="0"/>
          </a:p>
        </p:txBody>
      </p:sp>
      <p:sp>
        <p:nvSpPr>
          <p:cNvPr id="2" name="Title 1"/>
          <p:cNvSpPr>
            <a:spLocks noGrp="1"/>
          </p:cNvSpPr>
          <p:nvPr>
            <p:ph type="title"/>
          </p:nvPr>
        </p:nvSpPr>
        <p:spPr/>
        <p:txBody>
          <a:bodyPr/>
          <a:lstStyle/>
          <a:p>
            <a:r>
              <a:rPr lang="en-US" dirty="0"/>
              <a:t>I- Development and Deployment</a:t>
            </a:r>
          </a:p>
        </p:txBody>
      </p:sp>
      <p:cxnSp>
        <p:nvCxnSpPr>
          <p:cNvPr id="26" name="Straight Arrow Connector 25"/>
          <p:cNvCxnSpPr>
            <a:stCxn id="36" idx="0"/>
            <a:endCxn id="29" idx="2"/>
          </p:cNvCxnSpPr>
          <p:nvPr/>
        </p:nvCxnSpPr>
        <p:spPr>
          <a:xfrm flipV="1">
            <a:off x="5632373" y="4817952"/>
            <a:ext cx="3142" cy="72457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stCxn id="32" idx="2"/>
            <a:endCxn id="29" idx="0"/>
          </p:cNvCxnSpPr>
          <p:nvPr/>
        </p:nvCxnSpPr>
        <p:spPr>
          <a:xfrm flipH="1">
            <a:off x="5635514" y="3748082"/>
            <a:ext cx="4908" cy="32285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28" name="Group 27"/>
          <p:cNvGrpSpPr/>
          <p:nvPr/>
        </p:nvGrpSpPr>
        <p:grpSpPr>
          <a:xfrm>
            <a:off x="5259547" y="4070932"/>
            <a:ext cx="2016956" cy="747021"/>
            <a:chOff x="7513637" y="4106862"/>
            <a:chExt cx="2057400" cy="762000"/>
          </a:xfrm>
        </p:grpSpPr>
        <p:pic>
          <p:nvPicPr>
            <p:cNvPr id="29" name="Picture 28"/>
            <p:cNvPicPr>
              <a:picLocks noChangeAspect="1"/>
            </p:cNvPicPr>
            <p:nvPr/>
          </p:nvPicPr>
          <p:blipFill>
            <a:blip r:embed="rId3"/>
            <a:stretch>
              <a:fillRect/>
            </a:stretch>
          </p:blipFill>
          <p:spPr>
            <a:xfrm>
              <a:off x="7513637" y="4106862"/>
              <a:ext cx="767014" cy="762000"/>
            </a:xfrm>
            <a:prstGeom prst="rect">
              <a:avLst/>
            </a:prstGeom>
          </p:spPr>
        </p:pic>
        <p:sp>
          <p:nvSpPr>
            <p:cNvPr id="30" name="TextBox 29"/>
            <p:cNvSpPr txBox="1"/>
            <p:nvPr/>
          </p:nvSpPr>
          <p:spPr>
            <a:xfrm>
              <a:off x="8317003" y="4262676"/>
              <a:ext cx="1254034" cy="369332"/>
            </a:xfrm>
            <a:prstGeom prst="rect">
              <a:avLst/>
            </a:prstGeom>
            <a:noFill/>
          </p:spPr>
          <p:txBody>
            <a:bodyPr wrap="square" rtlCol="0">
              <a:spAutoFit/>
            </a:bodyPr>
            <a:lstStyle/>
            <a:p>
              <a:r>
                <a:rPr lang="en-US" sz="1765" dirty="0">
                  <a:solidFill>
                    <a:srgbClr val="00ABEC"/>
                  </a:solidFill>
                </a:rPr>
                <a:t>Staging</a:t>
              </a:r>
            </a:p>
          </p:txBody>
        </p:sp>
      </p:grpSp>
      <p:grpSp>
        <p:nvGrpSpPr>
          <p:cNvPr id="31" name="Group 30"/>
          <p:cNvGrpSpPr/>
          <p:nvPr/>
        </p:nvGrpSpPr>
        <p:grpSpPr>
          <a:xfrm>
            <a:off x="5264454" y="3001061"/>
            <a:ext cx="2101481" cy="747021"/>
            <a:chOff x="7513637" y="4106862"/>
            <a:chExt cx="2143620" cy="762000"/>
          </a:xfrm>
        </p:grpSpPr>
        <p:pic>
          <p:nvPicPr>
            <p:cNvPr id="32" name="Picture 31"/>
            <p:cNvPicPr>
              <a:picLocks noChangeAspect="1"/>
            </p:cNvPicPr>
            <p:nvPr/>
          </p:nvPicPr>
          <p:blipFill>
            <a:blip r:embed="rId3"/>
            <a:stretch>
              <a:fillRect/>
            </a:stretch>
          </p:blipFill>
          <p:spPr>
            <a:xfrm>
              <a:off x="7513637" y="4106862"/>
              <a:ext cx="767014" cy="762000"/>
            </a:xfrm>
            <a:prstGeom prst="rect">
              <a:avLst/>
            </a:prstGeom>
          </p:spPr>
        </p:pic>
        <p:sp>
          <p:nvSpPr>
            <p:cNvPr id="33" name="TextBox 32"/>
            <p:cNvSpPr txBox="1"/>
            <p:nvPr/>
          </p:nvSpPr>
          <p:spPr>
            <a:xfrm>
              <a:off x="8317003" y="4262676"/>
              <a:ext cx="1340254" cy="369332"/>
            </a:xfrm>
            <a:prstGeom prst="rect">
              <a:avLst/>
            </a:prstGeom>
            <a:noFill/>
          </p:spPr>
          <p:txBody>
            <a:bodyPr wrap="square" rtlCol="0">
              <a:spAutoFit/>
            </a:bodyPr>
            <a:lstStyle/>
            <a:p>
              <a:r>
                <a:rPr lang="en-US" sz="1765" dirty="0">
                  <a:solidFill>
                    <a:srgbClr val="00ABEC"/>
                  </a:solidFill>
                </a:rPr>
                <a:t>Production</a:t>
              </a:r>
            </a:p>
          </p:txBody>
        </p:sp>
      </p:grpSp>
      <p:sp>
        <p:nvSpPr>
          <p:cNvPr id="34" name="TextBox 33"/>
          <p:cNvSpPr txBox="1"/>
          <p:nvPr/>
        </p:nvSpPr>
        <p:spPr>
          <a:xfrm>
            <a:off x="5767852" y="3706717"/>
            <a:ext cx="1229382" cy="362072"/>
          </a:xfrm>
          <a:prstGeom prst="rect">
            <a:avLst/>
          </a:prstGeom>
          <a:noFill/>
        </p:spPr>
        <p:txBody>
          <a:bodyPr wrap="square" rtlCol="0">
            <a:spAutoFit/>
          </a:bodyPr>
          <a:lstStyle/>
          <a:p>
            <a:r>
              <a:rPr lang="en-US" sz="1765" dirty="0">
                <a:solidFill>
                  <a:srgbClr val="FFFFFF">
                    <a:lumMod val="50000"/>
                  </a:srgbClr>
                </a:solidFill>
              </a:rPr>
              <a:t>swap</a:t>
            </a:r>
          </a:p>
        </p:txBody>
      </p:sp>
      <p:grpSp>
        <p:nvGrpSpPr>
          <p:cNvPr id="35" name="Group 34"/>
          <p:cNvGrpSpPr/>
          <p:nvPr/>
        </p:nvGrpSpPr>
        <p:grpSpPr>
          <a:xfrm>
            <a:off x="5000547" y="5542527"/>
            <a:ext cx="1269935" cy="866848"/>
            <a:chOff x="960437" y="5649364"/>
            <a:chExt cx="1295400" cy="884230"/>
          </a:xfrm>
        </p:grpSpPr>
        <p:pic>
          <p:nvPicPr>
            <p:cNvPr id="36" name="Picture 35"/>
            <p:cNvPicPr>
              <a:picLocks noChangeAspect="1"/>
            </p:cNvPicPr>
            <p:nvPr/>
          </p:nvPicPr>
          <p:blipFill>
            <a:blip r:embed="rId4"/>
            <a:stretch>
              <a:fillRect/>
            </a:stretch>
          </p:blipFill>
          <p:spPr>
            <a:xfrm>
              <a:off x="1265237" y="5649364"/>
              <a:ext cx="679390" cy="424786"/>
            </a:xfrm>
            <a:prstGeom prst="rect">
              <a:avLst/>
            </a:prstGeom>
          </p:spPr>
        </p:pic>
        <p:sp>
          <p:nvSpPr>
            <p:cNvPr id="37" name="TextBox 36"/>
            <p:cNvSpPr txBox="1"/>
            <p:nvPr/>
          </p:nvSpPr>
          <p:spPr>
            <a:xfrm>
              <a:off x="960437" y="6164262"/>
              <a:ext cx="1295400" cy="369332"/>
            </a:xfrm>
            <a:prstGeom prst="rect">
              <a:avLst/>
            </a:prstGeom>
            <a:noFill/>
          </p:spPr>
          <p:txBody>
            <a:bodyPr wrap="square" rtlCol="0">
              <a:spAutoFit/>
            </a:bodyPr>
            <a:lstStyle/>
            <a:p>
              <a:r>
                <a:rPr lang="en-US" sz="1765" dirty="0">
                  <a:solidFill>
                    <a:srgbClr val="FFFFFF">
                      <a:lumMod val="50000"/>
                    </a:srgbClr>
                  </a:solidFill>
                </a:rPr>
                <a:t> Developer</a:t>
              </a:r>
            </a:p>
          </p:txBody>
        </p:sp>
      </p:grpSp>
      <p:cxnSp>
        <p:nvCxnSpPr>
          <p:cNvPr id="39" name="Straight Arrow Connector 38"/>
          <p:cNvCxnSpPr/>
          <p:nvPr/>
        </p:nvCxnSpPr>
        <p:spPr>
          <a:xfrm>
            <a:off x="1995149" y="3334848"/>
            <a:ext cx="3334044" cy="8709"/>
          </a:xfrm>
          <a:prstGeom prst="straightConnector1">
            <a:avLst/>
          </a:prstGeom>
          <a:ln w="762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a:off x="1925361" y="2759050"/>
            <a:ext cx="3295229" cy="615522"/>
          </a:xfrm>
          <a:prstGeom prst="rect">
            <a:avLst/>
          </a:prstGeom>
          <a:noFill/>
        </p:spPr>
        <p:txBody>
          <a:bodyPr wrap="none" lIns="179285" tIns="143428" rIns="179285" bIns="143428" rtlCol="0">
            <a:spAutoFit/>
          </a:bodyPr>
          <a:lstStyle/>
          <a:p>
            <a:pPr>
              <a:lnSpc>
                <a:spcPct val="90000"/>
              </a:lnSpc>
              <a:spcAft>
                <a:spcPts val="588"/>
              </a:spcAft>
            </a:pPr>
            <a:r>
              <a:rPr lang="en-US" sz="2353" dirty="0">
                <a:gradFill>
                  <a:gsLst>
                    <a:gs pos="2917">
                      <a:srgbClr val="FFFFFF"/>
                    </a:gs>
                    <a:gs pos="30000">
                      <a:srgbClr val="FFFFFF"/>
                    </a:gs>
                  </a:gsLst>
                  <a:lin ang="5400000" scaled="0"/>
                </a:gradFill>
              </a:rPr>
              <a:t>100% production.com</a:t>
            </a:r>
          </a:p>
        </p:txBody>
      </p:sp>
    </p:spTree>
    <p:extLst>
      <p:ext uri="{BB962C8B-B14F-4D97-AF65-F5344CB8AC3E}">
        <p14:creationId xmlns:p14="http://schemas.microsoft.com/office/powerpoint/2010/main" val="2314614208"/>
      </p:ext>
    </p:extLst>
  </p:cSld>
  <p:clrMapOvr>
    <a:masterClrMapping/>
  </p:clrMapOvr>
  <p:transition spd="slow">
    <p:push/>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1189495"/>
            <a:ext cx="11653523" cy="1188802"/>
          </a:xfrm>
        </p:spPr>
        <p:txBody>
          <a:bodyPr/>
          <a:lstStyle/>
          <a:p>
            <a:r>
              <a:rPr lang="en-US" dirty="0" smtClean="0"/>
              <a:t>Testing in Production</a:t>
            </a:r>
            <a:endParaRPr lang="en-US" sz="2745" dirty="0"/>
          </a:p>
          <a:p>
            <a:pPr lvl="2"/>
            <a:endParaRPr lang="en-US" sz="2745" dirty="0"/>
          </a:p>
        </p:txBody>
      </p:sp>
      <p:sp>
        <p:nvSpPr>
          <p:cNvPr id="2" name="Title 1"/>
          <p:cNvSpPr>
            <a:spLocks noGrp="1"/>
          </p:cNvSpPr>
          <p:nvPr>
            <p:ph type="title"/>
          </p:nvPr>
        </p:nvSpPr>
        <p:spPr/>
        <p:txBody>
          <a:bodyPr/>
          <a:lstStyle/>
          <a:p>
            <a:r>
              <a:rPr lang="en-US" dirty="0"/>
              <a:t>I- Development and Deployment</a:t>
            </a:r>
          </a:p>
        </p:txBody>
      </p:sp>
      <p:cxnSp>
        <p:nvCxnSpPr>
          <p:cNvPr id="58" name="Straight Arrow Connector 57"/>
          <p:cNvCxnSpPr>
            <a:stCxn id="68" idx="0"/>
            <a:endCxn id="61" idx="2"/>
          </p:cNvCxnSpPr>
          <p:nvPr/>
        </p:nvCxnSpPr>
        <p:spPr>
          <a:xfrm flipV="1">
            <a:off x="5632373" y="4817952"/>
            <a:ext cx="3142" cy="72457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a:stCxn id="64" idx="2"/>
            <a:endCxn id="61" idx="0"/>
          </p:cNvCxnSpPr>
          <p:nvPr/>
        </p:nvCxnSpPr>
        <p:spPr>
          <a:xfrm flipH="1">
            <a:off x="5635514" y="3748082"/>
            <a:ext cx="4908" cy="32285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60" name="Group 59"/>
          <p:cNvGrpSpPr/>
          <p:nvPr/>
        </p:nvGrpSpPr>
        <p:grpSpPr>
          <a:xfrm>
            <a:off x="5259547" y="4070932"/>
            <a:ext cx="2016956" cy="747021"/>
            <a:chOff x="7513637" y="4106862"/>
            <a:chExt cx="2057400" cy="762000"/>
          </a:xfrm>
        </p:grpSpPr>
        <p:pic>
          <p:nvPicPr>
            <p:cNvPr id="61" name="Picture 60"/>
            <p:cNvPicPr>
              <a:picLocks noChangeAspect="1"/>
            </p:cNvPicPr>
            <p:nvPr/>
          </p:nvPicPr>
          <p:blipFill>
            <a:blip r:embed="rId3"/>
            <a:stretch>
              <a:fillRect/>
            </a:stretch>
          </p:blipFill>
          <p:spPr>
            <a:xfrm>
              <a:off x="7513637" y="4106862"/>
              <a:ext cx="767014" cy="762000"/>
            </a:xfrm>
            <a:prstGeom prst="rect">
              <a:avLst/>
            </a:prstGeom>
          </p:spPr>
        </p:pic>
        <p:sp>
          <p:nvSpPr>
            <p:cNvPr id="62" name="TextBox 61"/>
            <p:cNvSpPr txBox="1"/>
            <p:nvPr/>
          </p:nvSpPr>
          <p:spPr>
            <a:xfrm>
              <a:off x="8317003" y="4262676"/>
              <a:ext cx="1254034" cy="369332"/>
            </a:xfrm>
            <a:prstGeom prst="rect">
              <a:avLst/>
            </a:prstGeom>
            <a:noFill/>
          </p:spPr>
          <p:txBody>
            <a:bodyPr wrap="square" rtlCol="0">
              <a:spAutoFit/>
            </a:bodyPr>
            <a:lstStyle/>
            <a:p>
              <a:r>
                <a:rPr lang="en-US" sz="1765" dirty="0">
                  <a:solidFill>
                    <a:srgbClr val="00ABEC"/>
                  </a:solidFill>
                </a:rPr>
                <a:t>Staging</a:t>
              </a:r>
            </a:p>
          </p:txBody>
        </p:sp>
      </p:grpSp>
      <p:grpSp>
        <p:nvGrpSpPr>
          <p:cNvPr id="63" name="Group 62"/>
          <p:cNvGrpSpPr/>
          <p:nvPr/>
        </p:nvGrpSpPr>
        <p:grpSpPr>
          <a:xfrm>
            <a:off x="5264454" y="3001061"/>
            <a:ext cx="2101481" cy="747021"/>
            <a:chOff x="7513637" y="4106862"/>
            <a:chExt cx="2143620" cy="762000"/>
          </a:xfrm>
        </p:grpSpPr>
        <p:pic>
          <p:nvPicPr>
            <p:cNvPr id="64" name="Picture 63"/>
            <p:cNvPicPr>
              <a:picLocks noChangeAspect="1"/>
            </p:cNvPicPr>
            <p:nvPr/>
          </p:nvPicPr>
          <p:blipFill>
            <a:blip r:embed="rId3"/>
            <a:stretch>
              <a:fillRect/>
            </a:stretch>
          </p:blipFill>
          <p:spPr>
            <a:xfrm>
              <a:off x="7513637" y="4106862"/>
              <a:ext cx="767014" cy="762000"/>
            </a:xfrm>
            <a:prstGeom prst="rect">
              <a:avLst/>
            </a:prstGeom>
          </p:spPr>
        </p:pic>
        <p:sp>
          <p:nvSpPr>
            <p:cNvPr id="65" name="TextBox 64"/>
            <p:cNvSpPr txBox="1"/>
            <p:nvPr/>
          </p:nvSpPr>
          <p:spPr>
            <a:xfrm>
              <a:off x="8317003" y="4262676"/>
              <a:ext cx="1340254" cy="369332"/>
            </a:xfrm>
            <a:prstGeom prst="rect">
              <a:avLst/>
            </a:prstGeom>
            <a:noFill/>
          </p:spPr>
          <p:txBody>
            <a:bodyPr wrap="square" rtlCol="0">
              <a:spAutoFit/>
            </a:bodyPr>
            <a:lstStyle/>
            <a:p>
              <a:r>
                <a:rPr lang="en-US" sz="1765" dirty="0">
                  <a:solidFill>
                    <a:srgbClr val="00ABEC"/>
                  </a:solidFill>
                </a:rPr>
                <a:t>Production</a:t>
              </a:r>
            </a:p>
          </p:txBody>
        </p:sp>
      </p:grpSp>
      <p:sp>
        <p:nvSpPr>
          <p:cNvPr id="66" name="TextBox 65"/>
          <p:cNvSpPr txBox="1"/>
          <p:nvPr/>
        </p:nvSpPr>
        <p:spPr>
          <a:xfrm>
            <a:off x="5767852" y="3706717"/>
            <a:ext cx="1229382" cy="362072"/>
          </a:xfrm>
          <a:prstGeom prst="rect">
            <a:avLst/>
          </a:prstGeom>
          <a:noFill/>
        </p:spPr>
        <p:txBody>
          <a:bodyPr wrap="square" rtlCol="0">
            <a:spAutoFit/>
          </a:bodyPr>
          <a:lstStyle/>
          <a:p>
            <a:r>
              <a:rPr lang="en-US" sz="1765" dirty="0">
                <a:solidFill>
                  <a:srgbClr val="FFFFFF">
                    <a:lumMod val="50000"/>
                  </a:srgbClr>
                </a:solidFill>
              </a:rPr>
              <a:t>swap</a:t>
            </a:r>
          </a:p>
        </p:txBody>
      </p:sp>
      <p:grpSp>
        <p:nvGrpSpPr>
          <p:cNvPr id="67" name="Group 66"/>
          <p:cNvGrpSpPr/>
          <p:nvPr/>
        </p:nvGrpSpPr>
        <p:grpSpPr>
          <a:xfrm>
            <a:off x="5000547" y="5542527"/>
            <a:ext cx="1269935" cy="866848"/>
            <a:chOff x="960437" y="5649364"/>
            <a:chExt cx="1295400" cy="884230"/>
          </a:xfrm>
        </p:grpSpPr>
        <p:pic>
          <p:nvPicPr>
            <p:cNvPr id="68" name="Picture 67"/>
            <p:cNvPicPr>
              <a:picLocks noChangeAspect="1"/>
            </p:cNvPicPr>
            <p:nvPr/>
          </p:nvPicPr>
          <p:blipFill>
            <a:blip r:embed="rId4"/>
            <a:stretch>
              <a:fillRect/>
            </a:stretch>
          </p:blipFill>
          <p:spPr>
            <a:xfrm>
              <a:off x="1265237" y="5649364"/>
              <a:ext cx="679390" cy="424786"/>
            </a:xfrm>
            <a:prstGeom prst="rect">
              <a:avLst/>
            </a:prstGeom>
          </p:spPr>
        </p:pic>
        <p:sp>
          <p:nvSpPr>
            <p:cNvPr id="69" name="TextBox 68"/>
            <p:cNvSpPr txBox="1"/>
            <p:nvPr/>
          </p:nvSpPr>
          <p:spPr>
            <a:xfrm>
              <a:off x="960437" y="6164262"/>
              <a:ext cx="1295400" cy="369332"/>
            </a:xfrm>
            <a:prstGeom prst="rect">
              <a:avLst/>
            </a:prstGeom>
            <a:noFill/>
          </p:spPr>
          <p:txBody>
            <a:bodyPr wrap="square" rtlCol="0">
              <a:spAutoFit/>
            </a:bodyPr>
            <a:lstStyle/>
            <a:p>
              <a:r>
                <a:rPr lang="en-US" sz="1765" dirty="0">
                  <a:solidFill>
                    <a:srgbClr val="FFFFFF">
                      <a:lumMod val="50000"/>
                    </a:srgbClr>
                  </a:solidFill>
                </a:rPr>
                <a:t> Developer</a:t>
              </a:r>
            </a:p>
          </p:txBody>
        </p:sp>
      </p:grpSp>
      <p:cxnSp>
        <p:nvCxnSpPr>
          <p:cNvPr id="70" name="Straight Arrow Connector 69"/>
          <p:cNvCxnSpPr/>
          <p:nvPr/>
        </p:nvCxnSpPr>
        <p:spPr>
          <a:xfrm>
            <a:off x="1995149" y="3334848"/>
            <a:ext cx="3334044" cy="8709"/>
          </a:xfrm>
          <a:prstGeom prst="straightConnector1">
            <a:avLst/>
          </a:prstGeom>
          <a:ln w="762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1" name="TextBox 70"/>
          <p:cNvSpPr txBox="1"/>
          <p:nvPr/>
        </p:nvSpPr>
        <p:spPr>
          <a:xfrm>
            <a:off x="1925361" y="2759050"/>
            <a:ext cx="3131793" cy="615522"/>
          </a:xfrm>
          <a:prstGeom prst="rect">
            <a:avLst/>
          </a:prstGeom>
          <a:noFill/>
        </p:spPr>
        <p:txBody>
          <a:bodyPr wrap="none" lIns="179285" tIns="143428" rIns="179285" bIns="143428" rtlCol="0">
            <a:spAutoFit/>
          </a:bodyPr>
          <a:lstStyle/>
          <a:p>
            <a:pPr>
              <a:lnSpc>
                <a:spcPct val="90000"/>
              </a:lnSpc>
              <a:spcAft>
                <a:spcPts val="588"/>
              </a:spcAft>
            </a:pPr>
            <a:r>
              <a:rPr lang="en-US" sz="2353" dirty="0">
                <a:gradFill>
                  <a:gsLst>
                    <a:gs pos="2917">
                      <a:srgbClr val="FFFFFF"/>
                    </a:gs>
                    <a:gs pos="30000">
                      <a:srgbClr val="FFFFFF"/>
                    </a:gs>
                  </a:gsLst>
                  <a:lin ang="5400000" scaled="0"/>
                </a:gradFill>
              </a:rPr>
              <a:t>80% production.com</a:t>
            </a:r>
          </a:p>
        </p:txBody>
      </p:sp>
      <p:cxnSp>
        <p:nvCxnSpPr>
          <p:cNvPr id="72" name="Straight Arrow Connector 71"/>
          <p:cNvCxnSpPr/>
          <p:nvPr/>
        </p:nvCxnSpPr>
        <p:spPr>
          <a:xfrm>
            <a:off x="1982473" y="4378309"/>
            <a:ext cx="3334044" cy="8709"/>
          </a:xfrm>
          <a:prstGeom prst="straightConnector1">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3" name="TextBox 72"/>
          <p:cNvSpPr txBox="1"/>
          <p:nvPr/>
        </p:nvSpPr>
        <p:spPr>
          <a:xfrm>
            <a:off x="1912684" y="3802510"/>
            <a:ext cx="3131793" cy="615522"/>
          </a:xfrm>
          <a:prstGeom prst="rect">
            <a:avLst/>
          </a:prstGeom>
          <a:noFill/>
        </p:spPr>
        <p:txBody>
          <a:bodyPr wrap="none" lIns="179285" tIns="143428" rIns="179285" bIns="143428" rtlCol="0">
            <a:spAutoFit/>
          </a:bodyPr>
          <a:lstStyle/>
          <a:p>
            <a:pPr>
              <a:lnSpc>
                <a:spcPct val="90000"/>
              </a:lnSpc>
              <a:spcAft>
                <a:spcPts val="588"/>
              </a:spcAft>
            </a:pPr>
            <a:r>
              <a:rPr lang="en-US" sz="2353" dirty="0">
                <a:gradFill>
                  <a:gsLst>
                    <a:gs pos="2917">
                      <a:srgbClr val="FFFFFF"/>
                    </a:gs>
                    <a:gs pos="30000">
                      <a:srgbClr val="FFFFFF"/>
                    </a:gs>
                  </a:gsLst>
                  <a:lin ang="5400000" scaled="0"/>
                </a:gradFill>
              </a:rPr>
              <a:t>20% production.com</a:t>
            </a:r>
          </a:p>
        </p:txBody>
      </p:sp>
    </p:spTree>
    <p:extLst>
      <p:ext uri="{BB962C8B-B14F-4D97-AF65-F5344CB8AC3E}">
        <p14:creationId xmlns:p14="http://schemas.microsoft.com/office/powerpoint/2010/main" val="166110607"/>
      </p:ext>
    </p:extLst>
  </p:cSld>
  <p:clrMapOvr>
    <a:masterClrMapping/>
  </p:clrMapOvr>
  <p:transition spd="slow">
    <p:push/>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2"/>
          </p:nvPr>
        </p:nvSpPr>
        <p:spPr>
          <a:xfrm>
            <a:off x="3735071" y="3452214"/>
            <a:ext cx="10824813" cy="1847850"/>
          </a:xfrm>
          <a:prstGeom prst="rect">
            <a:avLst/>
          </a:prstGeom>
        </p:spPr>
        <p:txBody>
          <a:bodyPr/>
          <a:lstStyle/>
          <a:p>
            <a:r>
              <a:rPr lang="ru-RU" dirty="0" smtClean="0"/>
              <a:t>Алексей Боков</a:t>
            </a:r>
          </a:p>
          <a:p>
            <a:r>
              <a:rPr lang="ru-RU" sz="2000" dirty="0" smtClean="0"/>
              <a:t>Евангелист</a:t>
            </a:r>
            <a:r>
              <a:rPr lang="en-US" sz="2000" dirty="0" smtClean="0"/>
              <a:t> Microsoft Azure</a:t>
            </a:r>
            <a:endParaRPr lang="ru-RU" sz="2000" dirty="0"/>
          </a:p>
        </p:txBody>
      </p:sp>
      <p:sp>
        <p:nvSpPr>
          <p:cNvPr id="2" name="Title 1"/>
          <p:cNvSpPr>
            <a:spLocks noGrp="1"/>
          </p:cNvSpPr>
          <p:nvPr>
            <p:ph type="title"/>
          </p:nvPr>
        </p:nvSpPr>
        <p:spPr>
          <a:xfrm>
            <a:off x="667511" y="658368"/>
            <a:ext cx="7312707" cy="858705"/>
          </a:xfrm>
          <a:prstGeom prst="rect">
            <a:avLst/>
          </a:prstGeom>
        </p:spPr>
        <p:txBody>
          <a:bodyPr/>
          <a:lstStyle/>
          <a:p>
            <a:r>
              <a:rPr lang="ru-RU" dirty="0" smtClean="0"/>
              <a:t>Облако </a:t>
            </a:r>
            <a:r>
              <a:rPr lang="en-US" dirty="0" smtClean="0"/>
              <a:t>Azure</a:t>
            </a:r>
            <a:endParaRPr lang="ru-RU" dirty="0"/>
          </a:p>
        </p:txBody>
      </p:sp>
      <p:pic>
        <p:nvPicPr>
          <p:cNvPr id="6" name="Picture 5"/>
          <p:cNvPicPr>
            <a:picLocks noChangeAspect="1"/>
          </p:cNvPicPr>
          <p:nvPr/>
        </p:nvPicPr>
        <p:blipFill>
          <a:blip r:embed="rId2"/>
          <a:stretch>
            <a:fillRect/>
          </a:stretch>
        </p:blipFill>
        <p:spPr>
          <a:xfrm>
            <a:off x="844996" y="2215470"/>
            <a:ext cx="2890075" cy="2473488"/>
          </a:xfrm>
          <a:prstGeom prst="rect">
            <a:avLst/>
          </a:prstGeom>
        </p:spPr>
      </p:pic>
    </p:spTree>
    <p:extLst>
      <p:ext uri="{BB962C8B-B14F-4D97-AF65-F5344CB8AC3E}">
        <p14:creationId xmlns:p14="http://schemas.microsoft.com/office/powerpoint/2010/main" val="835325488"/>
      </p:ext>
    </p:extLst>
  </p:cSld>
  <p:clrMapOvr>
    <a:masterClrMapping/>
  </p:clrMapOvr>
  <mc:AlternateContent xmlns:mc="http://schemas.openxmlformats.org/markup-compatibility/2006" xmlns:p14="http://schemas.microsoft.com/office/powerpoint/2010/main">
    <mc:Choice Requires="p14">
      <p:transition spd="slow" p14:dur="2000" advClick="0" advTm="92000"/>
    </mc:Choice>
    <mc:Fallback xmlns="">
      <p:transition spd="slow" advClick="0" advTm="92000"/>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39" y="1189495"/>
            <a:ext cx="11653523" cy="3047436"/>
          </a:xfrm>
        </p:spPr>
        <p:txBody>
          <a:bodyPr/>
          <a:lstStyle/>
          <a:p>
            <a:r>
              <a:rPr lang="en-US" dirty="0" smtClean="0"/>
              <a:t>Kudu</a:t>
            </a:r>
          </a:p>
          <a:p>
            <a:pPr lvl="1"/>
            <a:r>
              <a:rPr lang="en-US" sz="2745" dirty="0"/>
              <a:t>http</a:t>
            </a:r>
            <a:r>
              <a:rPr lang="en-US" sz="2745" b="1" u="sng" dirty="0"/>
              <a:t>s</a:t>
            </a:r>
            <a:r>
              <a:rPr lang="en-US" sz="2745" dirty="0"/>
              <a:t>://&lt;mySite&gt;.</a:t>
            </a:r>
            <a:r>
              <a:rPr lang="en-US" sz="2745" b="1" u="sng" dirty="0"/>
              <a:t>scm</a:t>
            </a:r>
            <a:r>
              <a:rPr lang="en-US" sz="2745" dirty="0"/>
              <a:t>.azurewebsites.net/</a:t>
            </a:r>
          </a:p>
          <a:p>
            <a:pPr lvl="1"/>
            <a:r>
              <a:rPr lang="en-US" sz="2745" dirty="0"/>
              <a:t>Authenticated</a:t>
            </a:r>
          </a:p>
          <a:p>
            <a:pPr lvl="1"/>
            <a:r>
              <a:rPr lang="en-US" sz="2745" dirty="0"/>
              <a:t>Runs in the same security context as the main site</a:t>
            </a:r>
          </a:p>
          <a:p>
            <a:pPr lvl="2"/>
            <a:r>
              <a:rPr lang="en-US" sz="2745" dirty="0"/>
              <a:t>Can access the site files and environment variables</a:t>
            </a:r>
          </a:p>
          <a:p>
            <a:pPr lvl="1"/>
            <a:r>
              <a:rPr lang="en-US" sz="2745" dirty="0"/>
              <a:t>Great for admin and debugging tools</a:t>
            </a:r>
          </a:p>
        </p:txBody>
      </p:sp>
      <p:sp>
        <p:nvSpPr>
          <p:cNvPr id="3" name="Title 2"/>
          <p:cNvSpPr>
            <a:spLocks noGrp="1"/>
          </p:cNvSpPr>
          <p:nvPr>
            <p:ph type="title"/>
          </p:nvPr>
        </p:nvSpPr>
        <p:spPr/>
        <p:txBody>
          <a:bodyPr/>
          <a:lstStyle/>
          <a:p>
            <a:r>
              <a:rPr lang="en-US" dirty="0"/>
              <a:t>II- Debugging and Investigations</a:t>
            </a:r>
            <a:br>
              <a:rPr lang="en-US" dirty="0"/>
            </a:br>
            <a:endParaRPr lang="en-US" dirty="0"/>
          </a:p>
        </p:txBody>
      </p:sp>
    </p:spTree>
    <p:extLst>
      <p:ext uri="{BB962C8B-B14F-4D97-AF65-F5344CB8AC3E}">
        <p14:creationId xmlns:p14="http://schemas.microsoft.com/office/powerpoint/2010/main" val="2641486358"/>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III- Management and Administration</a:t>
            </a:r>
          </a:p>
        </p:txBody>
      </p:sp>
      <p:pic>
        <p:nvPicPr>
          <p:cNvPr id="4" name="Picture 3"/>
          <p:cNvPicPr>
            <a:picLocks noChangeAspect="1"/>
          </p:cNvPicPr>
          <p:nvPr/>
        </p:nvPicPr>
        <p:blipFill>
          <a:blip r:embed="rId2"/>
          <a:stretch>
            <a:fillRect/>
          </a:stretch>
        </p:blipFill>
        <p:spPr>
          <a:xfrm>
            <a:off x="5573086" y="3462952"/>
            <a:ext cx="751936" cy="747021"/>
          </a:xfrm>
          <a:prstGeom prst="rect">
            <a:avLst/>
          </a:prstGeom>
        </p:spPr>
      </p:pic>
      <p:sp>
        <p:nvSpPr>
          <p:cNvPr id="5" name="Rounded Rectangle 4"/>
          <p:cNvSpPr/>
          <p:nvPr/>
        </p:nvSpPr>
        <p:spPr bwMode="auto">
          <a:xfrm>
            <a:off x="4716886" y="2115055"/>
            <a:ext cx="2465168" cy="597617"/>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Azure Portal(s)</a:t>
            </a:r>
          </a:p>
        </p:txBody>
      </p:sp>
      <p:sp>
        <p:nvSpPr>
          <p:cNvPr id="6" name="Rounded Rectangle 5"/>
          <p:cNvSpPr/>
          <p:nvPr/>
        </p:nvSpPr>
        <p:spPr bwMode="auto">
          <a:xfrm>
            <a:off x="1987386" y="4323956"/>
            <a:ext cx="2166360" cy="597617"/>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IIS Manager</a:t>
            </a:r>
          </a:p>
        </p:txBody>
      </p:sp>
      <p:sp>
        <p:nvSpPr>
          <p:cNvPr id="7" name="Rounded Rectangle 6"/>
          <p:cNvSpPr/>
          <p:nvPr/>
        </p:nvSpPr>
        <p:spPr bwMode="auto">
          <a:xfrm>
            <a:off x="4721865" y="5155767"/>
            <a:ext cx="2465168" cy="597617"/>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PowerShell</a:t>
            </a:r>
          </a:p>
        </p:txBody>
      </p:sp>
      <p:sp>
        <p:nvSpPr>
          <p:cNvPr id="8" name="Rounded Rectangle 7"/>
          <p:cNvSpPr/>
          <p:nvPr/>
        </p:nvSpPr>
        <p:spPr bwMode="auto">
          <a:xfrm>
            <a:off x="8262360" y="4323956"/>
            <a:ext cx="2016956" cy="597617"/>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err="1">
                <a:gradFill>
                  <a:gsLst>
                    <a:gs pos="0">
                      <a:srgbClr val="FFFFFF"/>
                    </a:gs>
                    <a:gs pos="100000">
                      <a:srgbClr val="FFFFFF"/>
                    </a:gs>
                  </a:gsLst>
                  <a:lin ang="5400000" scaled="0"/>
                </a:gradFill>
                <a:ea typeface="Segoe UI" pitchFamily="34" charset="0"/>
                <a:cs typeface="Segoe UI" pitchFamily="34" charset="0"/>
              </a:rPr>
              <a:t>xplat</a:t>
            </a:r>
            <a:r>
              <a:rPr lang="en-US" sz="2353" dirty="0">
                <a:gradFill>
                  <a:gsLst>
                    <a:gs pos="0">
                      <a:srgbClr val="FFFFFF"/>
                    </a:gs>
                    <a:gs pos="100000">
                      <a:srgbClr val="FFFFFF"/>
                    </a:gs>
                  </a:gsLst>
                  <a:lin ang="5400000" scaled="0"/>
                </a:gradFill>
                <a:ea typeface="Segoe UI" pitchFamily="34" charset="0"/>
                <a:cs typeface="Segoe UI" pitchFamily="34" charset="0"/>
              </a:rPr>
              <a:t> CLI</a:t>
            </a:r>
          </a:p>
        </p:txBody>
      </p:sp>
      <p:sp>
        <p:nvSpPr>
          <p:cNvPr id="9" name="Rounded Rectangle 8"/>
          <p:cNvSpPr/>
          <p:nvPr/>
        </p:nvSpPr>
        <p:spPr bwMode="auto">
          <a:xfrm>
            <a:off x="1987386" y="3015763"/>
            <a:ext cx="2166360" cy="597617"/>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Visual Studio</a:t>
            </a:r>
          </a:p>
        </p:txBody>
      </p:sp>
      <p:sp>
        <p:nvSpPr>
          <p:cNvPr id="10" name="Rounded Rectangle 9"/>
          <p:cNvSpPr/>
          <p:nvPr/>
        </p:nvSpPr>
        <p:spPr bwMode="auto">
          <a:xfrm>
            <a:off x="8262360" y="3018870"/>
            <a:ext cx="2016956" cy="597617"/>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Azure API</a:t>
            </a:r>
          </a:p>
        </p:txBody>
      </p:sp>
      <p:sp>
        <p:nvSpPr>
          <p:cNvPr id="11" name="TextBox 10"/>
          <p:cNvSpPr txBox="1"/>
          <p:nvPr/>
        </p:nvSpPr>
        <p:spPr>
          <a:xfrm>
            <a:off x="5159350" y="4273710"/>
            <a:ext cx="1907777" cy="362072"/>
          </a:xfrm>
          <a:prstGeom prst="rect">
            <a:avLst/>
          </a:prstGeom>
          <a:noFill/>
        </p:spPr>
        <p:txBody>
          <a:bodyPr wrap="square" rtlCol="0">
            <a:spAutoFit/>
          </a:bodyPr>
          <a:lstStyle/>
          <a:p>
            <a:r>
              <a:rPr lang="en-US" sz="1765" dirty="0">
                <a:solidFill>
                  <a:srgbClr val="00ABEC"/>
                </a:solidFill>
              </a:rPr>
              <a:t>  Azure Web Site</a:t>
            </a:r>
          </a:p>
        </p:txBody>
      </p:sp>
      <p:cxnSp>
        <p:nvCxnSpPr>
          <p:cNvPr id="12" name="Straight Arrow Connector 11"/>
          <p:cNvCxnSpPr>
            <a:stCxn id="9" idx="3"/>
            <a:endCxn id="4" idx="1"/>
          </p:cNvCxnSpPr>
          <p:nvPr/>
        </p:nvCxnSpPr>
        <p:spPr>
          <a:xfrm>
            <a:off x="4153746" y="3314572"/>
            <a:ext cx="1419339" cy="52189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flipV="1">
            <a:off x="4004342" y="3812414"/>
            <a:ext cx="1568743" cy="636898"/>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a:stCxn id="5" idx="2"/>
            <a:endCxn id="4" idx="0"/>
          </p:cNvCxnSpPr>
          <p:nvPr/>
        </p:nvCxnSpPr>
        <p:spPr>
          <a:xfrm flipH="1">
            <a:off x="5949054" y="2712673"/>
            <a:ext cx="417" cy="75028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a:stCxn id="7" idx="0"/>
            <a:endCxn id="4" idx="2"/>
          </p:cNvCxnSpPr>
          <p:nvPr/>
        </p:nvCxnSpPr>
        <p:spPr>
          <a:xfrm flipH="1" flipV="1">
            <a:off x="5949053" y="4209973"/>
            <a:ext cx="5396" cy="94579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stCxn id="8" idx="1"/>
            <a:endCxn id="4" idx="3"/>
          </p:cNvCxnSpPr>
          <p:nvPr/>
        </p:nvCxnSpPr>
        <p:spPr>
          <a:xfrm flipH="1" flipV="1">
            <a:off x="6325022" y="3836463"/>
            <a:ext cx="1937338" cy="78630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a:stCxn id="10" idx="1"/>
            <a:endCxn id="4" idx="3"/>
          </p:cNvCxnSpPr>
          <p:nvPr/>
        </p:nvCxnSpPr>
        <p:spPr>
          <a:xfrm flipH="1">
            <a:off x="6325022" y="3317679"/>
            <a:ext cx="1937338" cy="51878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675549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500"/>
                                        <p:tgtEl>
                                          <p:spTgt spid="8"/>
                                        </p:tgtEl>
                                      </p:cBhvr>
                                    </p:animEffect>
                                  </p:childTnLst>
                                </p:cTn>
                              </p:par>
                              <p:par>
                                <p:cTn id="19" presetID="10" presetClass="entr" presetSubtype="0" fill="hold" nodeType="withEffect">
                                  <p:stCondLst>
                                    <p:cond delay="0"/>
                                  </p:stCondLst>
                                  <p:childTnLst>
                                    <p:set>
                                      <p:cBhvr>
                                        <p:cTn id="20" dur="1" fill="hold">
                                          <p:stCondLst>
                                            <p:cond delay="0"/>
                                          </p:stCondLst>
                                        </p:cTn>
                                        <p:tgtEl>
                                          <p:spTgt spid="15"/>
                                        </p:tgtEl>
                                        <p:attrNameLst>
                                          <p:attrName>style.visibility</p:attrName>
                                        </p:attrNameLst>
                                      </p:cBhvr>
                                      <p:to>
                                        <p:strVal val="visible"/>
                                      </p:to>
                                    </p:set>
                                    <p:animEffect transition="in" filter="fade">
                                      <p:cBhvr>
                                        <p:cTn id="21" dur="500"/>
                                        <p:tgtEl>
                                          <p:spTgt spid="15"/>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7"/>
                                        </p:tgtEl>
                                        <p:attrNameLst>
                                          <p:attrName>style.visibility</p:attrName>
                                        </p:attrNameLst>
                                      </p:cBhvr>
                                      <p:to>
                                        <p:strVal val="visible"/>
                                      </p:to>
                                    </p:set>
                                    <p:animEffect transition="in" filter="fade">
                                      <p:cBhvr>
                                        <p:cTn id="24" dur="500"/>
                                        <p:tgtEl>
                                          <p:spTgt spid="7"/>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17"/>
                                        </p:tgtEl>
                                        <p:attrNameLst>
                                          <p:attrName>style.visibility</p:attrName>
                                        </p:attrNameLst>
                                      </p:cBhvr>
                                      <p:to>
                                        <p:strVal val="visible"/>
                                      </p:to>
                                    </p:set>
                                    <p:animEffect transition="in" filter="fade">
                                      <p:cBhvr>
                                        <p:cTn id="29" dur="500"/>
                                        <p:tgtEl>
                                          <p:spTgt spid="17"/>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fade">
                                      <p:cBhvr>
                                        <p:cTn id="32" dur="500"/>
                                        <p:tgtEl>
                                          <p:spTgt spid="10"/>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3"/>
                                        </p:tgtEl>
                                        <p:attrNameLst>
                                          <p:attrName>style.visibility</p:attrName>
                                        </p:attrNameLst>
                                      </p:cBhvr>
                                      <p:to>
                                        <p:strVal val="visible"/>
                                      </p:to>
                                    </p:set>
                                    <p:animEffect transition="in" filter="fade">
                                      <p:cBhvr>
                                        <p:cTn id="37" dur="500"/>
                                        <p:tgtEl>
                                          <p:spTgt spid="13"/>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6"/>
                                        </p:tgtEl>
                                        <p:attrNameLst>
                                          <p:attrName>style.visibility</p:attrName>
                                        </p:attrNameLst>
                                      </p:cBhvr>
                                      <p:to>
                                        <p:strVal val="visible"/>
                                      </p:to>
                                    </p:set>
                                    <p:animEffect transition="in" filter="fade">
                                      <p:cBhvr>
                                        <p:cTn id="40"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pPr lvl="0" defTabSz="914225">
              <a:lnSpc>
                <a:spcPct val="100000"/>
              </a:lnSpc>
              <a:defRPr/>
            </a:pPr>
            <a:r>
              <a:rPr lang="en-US" spc="-100" dirty="0">
                <a:ln w="3175">
                  <a:noFill/>
                </a:ln>
                <a:solidFill>
                  <a:srgbClr val="00B0F0"/>
                </a:solidFill>
                <a:latin typeface="Segoe UI Light" pitchFamily="34" charset="0"/>
                <a:cs typeface="Arial" charset="0"/>
              </a:rPr>
              <a:t>Azure </a:t>
            </a:r>
            <a:r>
              <a:rPr lang="en-US" spc="-100" dirty="0" smtClean="0">
                <a:ln w="3175">
                  <a:noFill/>
                </a:ln>
                <a:solidFill>
                  <a:srgbClr val="00B0F0"/>
                </a:solidFill>
                <a:latin typeface="Segoe UI Light" pitchFamily="34" charset="0"/>
                <a:cs typeface="Arial" charset="0"/>
              </a:rPr>
              <a:t>Websites Features &amp; Capabilities</a:t>
            </a:r>
            <a:endParaRPr lang="en-US" sz="3200" dirty="0"/>
          </a:p>
        </p:txBody>
      </p:sp>
      <p:sp>
        <p:nvSpPr>
          <p:cNvPr id="7" name="Rectangle 6"/>
          <p:cNvSpPr/>
          <p:nvPr/>
        </p:nvSpPr>
        <p:spPr bwMode="auto">
          <a:xfrm>
            <a:off x="749963" y="1299956"/>
            <a:ext cx="3189767" cy="10732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r>
              <a:rPr lang="en-US" sz="2400" dirty="0" smtClean="0">
                <a:gradFill>
                  <a:gsLst>
                    <a:gs pos="0">
                      <a:srgbClr val="FFFFFF"/>
                    </a:gs>
                    <a:gs pos="100000">
                      <a:srgbClr val="FFFFFF"/>
                    </a:gs>
                  </a:gsLst>
                  <a:lin ang="5400000" scaled="0"/>
                </a:gradFill>
                <a:latin typeface="Segoe UI Light"/>
                <a:ea typeface="Segoe UI" pitchFamily="34" charset="0"/>
                <a:cs typeface="Segoe UI" pitchFamily="34" charset="0"/>
              </a:rPr>
              <a:t>Enterprise-class</a:t>
            </a:r>
            <a:endParaRPr lang="en-US" sz="2800" dirty="0">
              <a:gradFill>
                <a:gsLst>
                  <a:gs pos="0">
                    <a:srgbClr val="FFFFFF"/>
                  </a:gs>
                  <a:gs pos="100000">
                    <a:srgbClr val="FFFFFF"/>
                  </a:gs>
                </a:gsLst>
                <a:lin ang="5400000" scaled="0"/>
              </a:gradFill>
              <a:ea typeface="Segoe UI" pitchFamily="34" charset="0"/>
              <a:cs typeface="Segoe UI" pitchFamily="34" charset="0"/>
            </a:endParaRPr>
          </a:p>
          <a:p>
            <a:pPr defTabSz="932472" fontAlgn="base">
              <a:spcBef>
                <a:spcPct val="0"/>
              </a:spcBef>
              <a:spcAft>
                <a:spcPct val="0"/>
              </a:spcAft>
              <a:defRPr/>
            </a:pPr>
            <a:r>
              <a:rPr lang="en-US" sz="1000" dirty="0" smtClean="0">
                <a:solidFill>
                  <a:srgbClr val="505050"/>
                </a:solidFill>
                <a:ea typeface="Segoe UI" pitchFamily="34" charset="0"/>
                <a:cs typeface="Segoe UI" pitchFamily="34" charset="0"/>
              </a:rPr>
              <a:t>Designed for secure mission-critical applications</a:t>
            </a:r>
          </a:p>
        </p:txBody>
      </p:sp>
      <p:sp>
        <p:nvSpPr>
          <p:cNvPr id="8" name="Rectangle 7"/>
          <p:cNvSpPr/>
          <p:nvPr/>
        </p:nvSpPr>
        <p:spPr bwMode="auto">
          <a:xfrm>
            <a:off x="4040127" y="1299956"/>
            <a:ext cx="3189767" cy="10732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r>
              <a:rPr lang="en-US" sz="2400" dirty="0" smtClean="0">
                <a:gradFill>
                  <a:gsLst>
                    <a:gs pos="0">
                      <a:srgbClr val="FFFFFF"/>
                    </a:gs>
                    <a:gs pos="100000">
                      <a:srgbClr val="FFFFFF"/>
                    </a:gs>
                  </a:gsLst>
                  <a:lin ang="5400000" scaled="0"/>
                </a:gradFill>
                <a:latin typeface="Segoe UI Light"/>
                <a:ea typeface="Segoe UI" pitchFamily="34" charset="0"/>
                <a:cs typeface="Segoe UI" pitchFamily="34" charset="0"/>
              </a:rPr>
              <a:t>Global scale</a:t>
            </a:r>
            <a:endParaRPr lang="en-US" sz="2800" dirty="0" smtClean="0">
              <a:gradFill>
                <a:gsLst>
                  <a:gs pos="0">
                    <a:srgbClr val="FFFFFF"/>
                  </a:gs>
                  <a:gs pos="100000">
                    <a:srgbClr val="FFFFFF"/>
                  </a:gs>
                </a:gsLst>
                <a:lin ang="5400000" scaled="0"/>
              </a:gradFill>
              <a:ea typeface="Segoe UI" pitchFamily="34" charset="0"/>
              <a:cs typeface="Segoe UI" pitchFamily="34" charset="0"/>
            </a:endParaRPr>
          </a:p>
          <a:p>
            <a:pPr defTabSz="932472" fontAlgn="base">
              <a:spcBef>
                <a:spcPct val="0"/>
              </a:spcBef>
              <a:spcAft>
                <a:spcPct val="0"/>
              </a:spcAft>
              <a:defRPr/>
            </a:pPr>
            <a:r>
              <a:rPr lang="en-US" sz="1000" dirty="0">
                <a:solidFill>
                  <a:srgbClr val="FFFFFF"/>
                </a:solidFill>
              </a:rPr>
              <a:t>Optimized for </a:t>
            </a:r>
            <a:r>
              <a:rPr lang="en-US" sz="1000" dirty="0" smtClean="0">
                <a:solidFill>
                  <a:srgbClr val="FFFFFF"/>
                </a:solidFill>
              </a:rPr>
              <a:t>Availability and </a:t>
            </a:r>
            <a:r>
              <a:rPr lang="en-US" sz="1000" dirty="0">
                <a:solidFill>
                  <a:srgbClr val="FFFFFF"/>
                </a:solidFill>
              </a:rPr>
              <a:t>Automatic scale</a:t>
            </a:r>
            <a:endParaRPr lang="en-US" sz="1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p:nvSpPr>
        <p:spPr bwMode="auto">
          <a:xfrm>
            <a:off x="7330291" y="1299955"/>
            <a:ext cx="3189767" cy="10732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r>
              <a:rPr lang="en-US" sz="2400" dirty="0" smtClean="0">
                <a:gradFill>
                  <a:gsLst>
                    <a:gs pos="0">
                      <a:srgbClr val="FFFFFF"/>
                    </a:gs>
                    <a:gs pos="100000">
                      <a:srgbClr val="FFFFFF"/>
                    </a:gs>
                  </a:gsLst>
                  <a:lin ang="5400000" scaled="0"/>
                </a:gradFill>
                <a:latin typeface="Segoe UI Light"/>
                <a:ea typeface="Segoe UI" pitchFamily="34" charset="0"/>
                <a:cs typeface="Segoe UI" pitchFamily="34" charset="0"/>
              </a:rPr>
              <a:t>Built for </a:t>
            </a:r>
            <a:r>
              <a:rPr lang="en-US" sz="2400" dirty="0" err="1" smtClean="0">
                <a:gradFill>
                  <a:gsLst>
                    <a:gs pos="0">
                      <a:srgbClr val="FFFFFF"/>
                    </a:gs>
                    <a:gs pos="100000">
                      <a:srgbClr val="FFFFFF"/>
                    </a:gs>
                  </a:gsLst>
                  <a:lin ang="5400000" scaled="0"/>
                </a:gradFill>
                <a:latin typeface="Segoe UI Light"/>
                <a:ea typeface="Segoe UI" pitchFamily="34" charset="0"/>
                <a:cs typeface="Segoe UI" pitchFamily="34" charset="0"/>
              </a:rPr>
              <a:t>DevOps</a:t>
            </a:r>
            <a:endParaRPr lang="en-US" sz="2800" dirty="0" smtClean="0">
              <a:gradFill>
                <a:gsLst>
                  <a:gs pos="0">
                    <a:srgbClr val="FFFFFF"/>
                  </a:gs>
                  <a:gs pos="100000">
                    <a:srgbClr val="FFFFFF"/>
                  </a:gs>
                </a:gsLst>
                <a:lin ang="5400000" scaled="0"/>
              </a:gradFill>
              <a:ea typeface="Segoe UI" pitchFamily="34" charset="0"/>
              <a:cs typeface="Segoe UI" pitchFamily="34" charset="0"/>
            </a:endParaRPr>
          </a:p>
          <a:p>
            <a:pPr defTabSz="932472" fontAlgn="base">
              <a:spcBef>
                <a:spcPct val="0"/>
              </a:spcBef>
              <a:spcAft>
                <a:spcPct val="0"/>
              </a:spcAft>
              <a:defRPr/>
            </a:pPr>
            <a:r>
              <a:rPr lang="en-US" sz="1000" dirty="0" smtClean="0">
                <a:solidFill>
                  <a:srgbClr val="FFFFFF"/>
                </a:solidFill>
              </a:rPr>
              <a:t>Agility through Continuous </a:t>
            </a:r>
            <a:r>
              <a:rPr lang="en-US" sz="1000" dirty="0">
                <a:solidFill>
                  <a:srgbClr val="FFFFFF"/>
                </a:solidFill>
              </a:rPr>
              <a:t>D</a:t>
            </a:r>
            <a:r>
              <a:rPr lang="en-US" sz="1000" dirty="0" smtClean="0">
                <a:solidFill>
                  <a:srgbClr val="FFFFFF"/>
                </a:solidFill>
              </a:rPr>
              <a:t>eployment</a:t>
            </a:r>
            <a:endParaRPr lang="en-US" sz="1000" dirty="0">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p:nvSpPr>
        <p:spPr>
          <a:xfrm>
            <a:off x="737932" y="2128512"/>
            <a:ext cx="3415987" cy="3557897"/>
          </a:xfrm>
          <a:prstGeom prst="rect">
            <a:avLst/>
          </a:prstGeom>
          <a:noFill/>
          <a:ln>
            <a:noFill/>
          </a:ln>
        </p:spPr>
        <p:txBody>
          <a:bodyPr wrap="square" lIns="182880" tIns="146304" rIns="182880" bIns="146304" rtlCol="0">
            <a:spAutoFit/>
          </a:bodyPr>
          <a:lstStyle/>
          <a:p>
            <a:pPr>
              <a:spcAft>
                <a:spcPts val="300"/>
              </a:spcAft>
              <a:defRPr/>
            </a:pPr>
            <a:r>
              <a:rPr lang="en-US" sz="1400" dirty="0" smtClean="0">
                <a:solidFill>
                  <a:srgbClr val="505050"/>
                </a:solidFill>
                <a:ea typeface="Calibri" panose="020F0502020204030204" pitchFamily="34" charset="0"/>
                <a:cs typeface="Calibri" panose="020F0502020204030204" pitchFamily="34" charset="0"/>
              </a:rPr>
              <a:t>Hybrid </a:t>
            </a:r>
            <a:r>
              <a:rPr lang="en-US" sz="1400" dirty="0">
                <a:solidFill>
                  <a:srgbClr val="505050"/>
                </a:solidFill>
                <a:ea typeface="Calibri" panose="020F0502020204030204" pitchFamily="34" charset="0"/>
                <a:cs typeface="Calibri" panose="020F0502020204030204" pitchFamily="34" charset="0"/>
              </a:rPr>
              <a:t>Connections / VPN Support</a:t>
            </a:r>
          </a:p>
          <a:p>
            <a:pPr>
              <a:spcAft>
                <a:spcPts val="300"/>
              </a:spcAft>
              <a:defRPr/>
            </a:pPr>
            <a:r>
              <a:rPr lang="en-US" sz="1400" dirty="0" smtClean="0">
                <a:solidFill>
                  <a:srgbClr val="505050"/>
                </a:solidFill>
                <a:ea typeface="Calibri" panose="020F0502020204030204" pitchFamily="34" charset="0"/>
                <a:cs typeface="Calibri" panose="020F0502020204030204" pitchFamily="34" charset="0"/>
              </a:rPr>
              <a:t>Scheduled </a:t>
            </a:r>
            <a:r>
              <a:rPr lang="en-US" sz="1400" dirty="0">
                <a:solidFill>
                  <a:srgbClr val="505050"/>
                </a:solidFill>
                <a:ea typeface="Calibri" panose="020F0502020204030204" pitchFamily="34" charset="0"/>
                <a:cs typeface="Calibri" panose="020F0502020204030204" pitchFamily="34" charset="0"/>
              </a:rPr>
              <a:t>Backup</a:t>
            </a:r>
          </a:p>
          <a:p>
            <a:pPr>
              <a:spcAft>
                <a:spcPts val="300"/>
              </a:spcAft>
              <a:defRPr/>
            </a:pPr>
            <a:r>
              <a:rPr lang="en-US" sz="1400" dirty="0" smtClean="0">
                <a:solidFill>
                  <a:srgbClr val="505050"/>
                </a:solidFill>
                <a:ea typeface="Calibri" panose="020F0502020204030204" pitchFamily="34" charset="0"/>
                <a:cs typeface="Calibri" panose="020F0502020204030204" pitchFamily="34" charset="0"/>
              </a:rPr>
              <a:t>Azure Active Directory Integration </a:t>
            </a:r>
          </a:p>
          <a:p>
            <a:pPr>
              <a:spcAft>
                <a:spcPts val="300"/>
              </a:spcAft>
              <a:defRPr/>
            </a:pPr>
            <a:r>
              <a:rPr lang="en-US" sz="1400" dirty="0" smtClean="0">
                <a:solidFill>
                  <a:srgbClr val="505050"/>
                </a:solidFill>
                <a:ea typeface="Calibri" panose="020F0502020204030204" pitchFamily="34" charset="0"/>
                <a:cs typeface="Calibri" panose="020F0502020204030204" pitchFamily="34" charset="0"/>
              </a:rPr>
              <a:t>Site Resiliency, HA, and DR</a:t>
            </a:r>
          </a:p>
          <a:p>
            <a:pPr>
              <a:spcAft>
                <a:spcPts val="300"/>
              </a:spcAft>
              <a:defRPr/>
            </a:pPr>
            <a:r>
              <a:rPr lang="en-US" sz="1400" dirty="0" smtClean="0">
                <a:solidFill>
                  <a:srgbClr val="505050"/>
                </a:solidFill>
                <a:ea typeface="Calibri" panose="020F0502020204030204" pitchFamily="34" charset="0"/>
                <a:cs typeface="Calibri" panose="020F0502020204030204" pitchFamily="34" charset="0"/>
              </a:rPr>
              <a:t>Web Jobs</a:t>
            </a:r>
          </a:p>
          <a:p>
            <a:pPr>
              <a:spcAft>
                <a:spcPts val="300"/>
              </a:spcAft>
              <a:defRPr/>
            </a:pPr>
            <a:r>
              <a:rPr lang="en-US" sz="1400" dirty="0" smtClean="0">
                <a:solidFill>
                  <a:srgbClr val="505050"/>
                </a:solidFill>
                <a:ea typeface="Calibri" panose="020F0502020204030204" pitchFamily="34" charset="0"/>
                <a:cs typeface="Calibri" panose="020F0502020204030204" pitchFamily="34" charset="0"/>
              </a:rPr>
              <a:t>Role Base Access Control </a:t>
            </a:r>
          </a:p>
          <a:p>
            <a:pPr>
              <a:spcAft>
                <a:spcPts val="300"/>
              </a:spcAft>
              <a:defRPr/>
            </a:pPr>
            <a:r>
              <a:rPr lang="en-US" sz="1400" dirty="0" smtClean="0">
                <a:solidFill>
                  <a:srgbClr val="505050"/>
                </a:solidFill>
                <a:ea typeface="Calibri" panose="020F0502020204030204" pitchFamily="34" charset="0"/>
                <a:cs typeface="Calibri" panose="020F0502020204030204" pitchFamily="34" charset="0"/>
              </a:rPr>
              <a:t>Audit / Compliance </a:t>
            </a:r>
          </a:p>
          <a:p>
            <a:pPr>
              <a:spcAft>
                <a:spcPts val="300"/>
              </a:spcAft>
              <a:defRPr/>
            </a:pPr>
            <a:r>
              <a:rPr lang="en-US" sz="1400" dirty="0">
                <a:solidFill>
                  <a:srgbClr val="505050"/>
                </a:solidFill>
                <a:ea typeface="Calibri" panose="020F0502020204030204" pitchFamily="34" charset="0"/>
                <a:cs typeface="Calibri" panose="020F0502020204030204" pitchFamily="34" charset="0"/>
              </a:rPr>
              <a:t>Enterprise </a:t>
            </a:r>
            <a:r>
              <a:rPr lang="en-US" sz="1400" dirty="0" smtClean="0">
                <a:solidFill>
                  <a:srgbClr val="505050"/>
                </a:solidFill>
                <a:ea typeface="Calibri" panose="020F0502020204030204" pitchFamily="34" charset="0"/>
                <a:cs typeface="Calibri" panose="020F0502020204030204" pitchFamily="34" charset="0"/>
              </a:rPr>
              <a:t>Migration</a:t>
            </a:r>
            <a:endParaRPr lang="en-US" sz="1400" dirty="0">
              <a:solidFill>
                <a:srgbClr val="505050"/>
              </a:solidFill>
              <a:ea typeface="Calibri" panose="020F0502020204030204" pitchFamily="34" charset="0"/>
              <a:cs typeface="Calibri" panose="020F0502020204030204" pitchFamily="34" charset="0"/>
            </a:endParaRPr>
          </a:p>
          <a:p>
            <a:pPr>
              <a:spcAft>
                <a:spcPts val="300"/>
              </a:spcAft>
              <a:defRPr/>
            </a:pPr>
            <a:r>
              <a:rPr lang="en-US" sz="1400" dirty="0" smtClean="0">
                <a:solidFill>
                  <a:srgbClr val="505050"/>
                </a:solidFill>
                <a:ea typeface="Calibri" panose="020F0502020204030204" pitchFamily="34" charset="0"/>
                <a:cs typeface="Calibri" panose="020F0502020204030204" pitchFamily="34" charset="0"/>
              </a:rPr>
              <a:t>Client Certs </a:t>
            </a:r>
          </a:p>
          <a:p>
            <a:pPr>
              <a:spcAft>
                <a:spcPts val="300"/>
              </a:spcAft>
              <a:defRPr/>
            </a:pPr>
            <a:r>
              <a:rPr lang="en-US" sz="1400" dirty="0" err="1" smtClean="0">
                <a:solidFill>
                  <a:srgbClr val="505050"/>
                </a:solidFill>
                <a:ea typeface="Calibri" panose="020F0502020204030204" pitchFamily="34" charset="0"/>
                <a:cs typeface="Calibri" panose="020F0502020204030204" pitchFamily="34" charset="0"/>
              </a:rPr>
              <a:t>Redis</a:t>
            </a:r>
            <a:r>
              <a:rPr lang="en-US" sz="1400" dirty="0" smtClean="0">
                <a:solidFill>
                  <a:srgbClr val="505050"/>
                </a:solidFill>
                <a:ea typeface="Calibri" panose="020F0502020204030204" pitchFamily="34" charset="0"/>
                <a:cs typeface="Calibri" panose="020F0502020204030204" pitchFamily="34" charset="0"/>
              </a:rPr>
              <a:t> </a:t>
            </a:r>
            <a:r>
              <a:rPr lang="en-US" sz="1400" dirty="0">
                <a:solidFill>
                  <a:srgbClr val="505050"/>
                </a:solidFill>
                <a:ea typeface="Calibri" panose="020F0502020204030204" pitchFamily="34" charset="0"/>
                <a:cs typeface="Calibri" panose="020F0502020204030204" pitchFamily="34" charset="0"/>
              </a:rPr>
              <a:t>Caching</a:t>
            </a:r>
          </a:p>
          <a:p>
            <a:pPr>
              <a:spcAft>
                <a:spcPts val="300"/>
              </a:spcAft>
              <a:defRPr/>
            </a:pPr>
            <a:r>
              <a:rPr lang="en-US" sz="1400" dirty="0" smtClean="0">
                <a:solidFill>
                  <a:srgbClr val="505050"/>
                </a:solidFill>
                <a:ea typeface="Calibri" panose="020F0502020204030204" pitchFamily="34" charset="0"/>
                <a:cs typeface="Calibri" panose="020F0502020204030204" pitchFamily="34" charset="0"/>
              </a:rPr>
              <a:t>IP </a:t>
            </a:r>
            <a:r>
              <a:rPr lang="en-US" sz="1400" dirty="0">
                <a:solidFill>
                  <a:srgbClr val="505050"/>
                </a:solidFill>
                <a:ea typeface="Calibri" panose="020F0502020204030204" pitchFamily="34" charset="0"/>
                <a:cs typeface="Calibri" panose="020F0502020204030204" pitchFamily="34" charset="0"/>
              </a:rPr>
              <a:t>Restrictions/ SSL</a:t>
            </a:r>
          </a:p>
          <a:p>
            <a:pPr>
              <a:spcAft>
                <a:spcPts val="300"/>
              </a:spcAft>
              <a:defRPr/>
            </a:pPr>
            <a:r>
              <a:rPr lang="en-US" sz="1400" dirty="0" smtClean="0">
                <a:solidFill>
                  <a:srgbClr val="505050"/>
                </a:solidFill>
                <a:ea typeface="Calibri" panose="020F0502020204030204" pitchFamily="34" charset="0"/>
                <a:cs typeface="Calibri" panose="020F0502020204030204" pitchFamily="34" charset="0"/>
              </a:rPr>
              <a:t>Web </a:t>
            </a:r>
            <a:r>
              <a:rPr lang="en-US" sz="1400" dirty="0">
                <a:solidFill>
                  <a:srgbClr val="505050"/>
                </a:solidFill>
                <a:ea typeface="Calibri" panose="020F0502020204030204" pitchFamily="34" charset="0"/>
                <a:cs typeface="Calibri" panose="020F0502020204030204" pitchFamily="34" charset="0"/>
              </a:rPr>
              <a:t>Sockets</a:t>
            </a:r>
          </a:p>
          <a:p>
            <a:pPr>
              <a:spcAft>
                <a:spcPts val="300"/>
              </a:spcAft>
              <a:defRPr/>
            </a:pPr>
            <a:r>
              <a:rPr lang="en-US" sz="1400" dirty="0" smtClean="0">
                <a:solidFill>
                  <a:srgbClr val="505050"/>
                </a:solidFill>
                <a:ea typeface="Calibri" panose="020F0502020204030204" pitchFamily="34" charset="0"/>
                <a:cs typeface="Calibri" panose="020F0502020204030204" pitchFamily="34" charset="0"/>
              </a:rPr>
              <a:t>SQL</a:t>
            </a:r>
            <a:r>
              <a:rPr lang="en-US" sz="1400" dirty="0">
                <a:solidFill>
                  <a:srgbClr val="505050"/>
                </a:solidFill>
                <a:ea typeface="Calibri" panose="020F0502020204030204" pitchFamily="34" charset="0"/>
                <a:cs typeface="Calibri" panose="020F0502020204030204" pitchFamily="34" charset="0"/>
              </a:rPr>
              <a:t>, MySQL, </a:t>
            </a:r>
            <a:r>
              <a:rPr lang="en-US" sz="1400" dirty="0" err="1">
                <a:solidFill>
                  <a:srgbClr val="505050"/>
                </a:solidFill>
                <a:ea typeface="Calibri" panose="020F0502020204030204" pitchFamily="34" charset="0"/>
                <a:cs typeface="Calibri" panose="020F0502020204030204" pitchFamily="34" charset="0"/>
              </a:rPr>
              <a:t>DocDB</a:t>
            </a:r>
            <a:r>
              <a:rPr lang="en-US" sz="1400" dirty="0">
                <a:solidFill>
                  <a:srgbClr val="505050"/>
                </a:solidFill>
                <a:ea typeface="Calibri" panose="020F0502020204030204" pitchFamily="34" charset="0"/>
                <a:cs typeface="Calibri" panose="020F0502020204030204" pitchFamily="34" charset="0"/>
              </a:rPr>
              <a:t>, &amp; </a:t>
            </a:r>
            <a:r>
              <a:rPr lang="en-US" sz="1400" dirty="0" smtClean="0">
                <a:solidFill>
                  <a:srgbClr val="505050"/>
                </a:solidFill>
                <a:ea typeface="Calibri" panose="020F0502020204030204" pitchFamily="34" charset="0"/>
                <a:cs typeface="Calibri" panose="020F0502020204030204" pitchFamily="34" charset="0"/>
              </a:rPr>
              <a:t>Mongo</a:t>
            </a:r>
            <a:endParaRPr lang="en-US" sz="1400" dirty="0">
              <a:solidFill>
                <a:srgbClr val="505050"/>
              </a:solidFill>
              <a:ea typeface="Calibri" panose="020F0502020204030204" pitchFamily="34" charset="0"/>
              <a:cs typeface="Calibri" panose="020F0502020204030204" pitchFamily="34" charset="0"/>
            </a:endParaRPr>
          </a:p>
        </p:txBody>
      </p:sp>
      <p:sp>
        <p:nvSpPr>
          <p:cNvPr id="12" name="TextBox 11"/>
          <p:cNvSpPr txBox="1"/>
          <p:nvPr/>
        </p:nvSpPr>
        <p:spPr>
          <a:xfrm>
            <a:off x="4001022" y="2131890"/>
            <a:ext cx="3317237" cy="3519425"/>
          </a:xfrm>
          <a:prstGeom prst="rect">
            <a:avLst/>
          </a:prstGeom>
          <a:noFill/>
          <a:ln>
            <a:noFill/>
          </a:ln>
        </p:spPr>
        <p:txBody>
          <a:bodyPr wrap="square" lIns="182880" tIns="146304" rIns="182880" bIns="146304" rtlCol="0">
            <a:spAutoFit/>
          </a:bodyPr>
          <a:lstStyle/>
          <a:p>
            <a:pPr>
              <a:spcAft>
                <a:spcPts val="300"/>
              </a:spcAft>
              <a:defRPr/>
            </a:pPr>
            <a:r>
              <a:rPr lang="en-US" sz="1400" dirty="0" smtClean="0">
                <a:solidFill>
                  <a:srgbClr val="505050"/>
                </a:solidFill>
                <a:ea typeface="Calibri" panose="020F0502020204030204" pitchFamily="34" charset="0"/>
                <a:cs typeface="Calibri" panose="020F0502020204030204" pitchFamily="34" charset="0"/>
              </a:rPr>
              <a:t>Automated Deployment</a:t>
            </a:r>
            <a:br>
              <a:rPr lang="en-US" sz="1400" dirty="0" smtClean="0">
                <a:solidFill>
                  <a:srgbClr val="505050"/>
                </a:solidFill>
                <a:ea typeface="Calibri" panose="020F0502020204030204" pitchFamily="34" charset="0"/>
                <a:cs typeface="Calibri" panose="020F0502020204030204" pitchFamily="34" charset="0"/>
              </a:rPr>
            </a:br>
            <a:r>
              <a:rPr lang="en-US" sz="1400" dirty="0" err="1" smtClean="0">
                <a:solidFill>
                  <a:srgbClr val="505050"/>
                </a:solidFill>
                <a:ea typeface="Calibri" panose="020F0502020204030204" pitchFamily="34" charset="0"/>
                <a:cs typeface="Calibri" panose="020F0502020204030204" pitchFamily="34" charset="0"/>
              </a:rPr>
              <a:t>AutoScale</a:t>
            </a:r>
            <a:endParaRPr lang="en-US" sz="1400" dirty="0" smtClean="0">
              <a:solidFill>
                <a:srgbClr val="505050"/>
              </a:solidFill>
              <a:ea typeface="Calibri" panose="020F0502020204030204" pitchFamily="34" charset="0"/>
              <a:cs typeface="Calibri" panose="020F0502020204030204" pitchFamily="34" charset="0"/>
            </a:endParaRPr>
          </a:p>
          <a:p>
            <a:pPr>
              <a:spcAft>
                <a:spcPts val="300"/>
              </a:spcAft>
              <a:defRPr/>
            </a:pPr>
            <a:r>
              <a:rPr lang="en-US" sz="1400" dirty="0" smtClean="0">
                <a:solidFill>
                  <a:srgbClr val="505050"/>
                </a:solidFill>
                <a:ea typeface="Calibri" panose="020F0502020204030204" pitchFamily="34" charset="0"/>
                <a:cs typeface="Calibri" panose="020F0502020204030204" pitchFamily="34" charset="0"/>
              </a:rPr>
              <a:t>Built-in Load Balancing</a:t>
            </a:r>
          </a:p>
          <a:p>
            <a:pPr>
              <a:spcAft>
                <a:spcPts val="300"/>
              </a:spcAft>
              <a:defRPr/>
            </a:pPr>
            <a:r>
              <a:rPr lang="en-US" sz="1400" dirty="0" smtClean="0">
                <a:solidFill>
                  <a:srgbClr val="505050"/>
                </a:solidFill>
                <a:ea typeface="Calibri" panose="020F0502020204030204" pitchFamily="34" charset="0"/>
                <a:cs typeface="Calibri" panose="020F0502020204030204" pitchFamily="34" charset="0"/>
              </a:rPr>
              <a:t>WW Datacenter Coverage</a:t>
            </a:r>
          </a:p>
          <a:p>
            <a:pPr>
              <a:spcAft>
                <a:spcPts val="300"/>
              </a:spcAft>
              <a:defRPr/>
            </a:pPr>
            <a:r>
              <a:rPr lang="en-US" sz="1400" dirty="0" smtClean="0">
                <a:solidFill>
                  <a:srgbClr val="505050"/>
                </a:solidFill>
                <a:ea typeface="Calibri" panose="020F0502020204030204" pitchFamily="34" charset="0"/>
                <a:cs typeface="Calibri" panose="020F0502020204030204" pitchFamily="34" charset="0"/>
              </a:rPr>
              <a:t>End Point Monitoring &amp; Alerts</a:t>
            </a:r>
          </a:p>
          <a:p>
            <a:pPr>
              <a:spcAft>
                <a:spcPts val="300"/>
              </a:spcAft>
              <a:defRPr/>
            </a:pPr>
            <a:r>
              <a:rPr lang="en-US" sz="1400" dirty="0" smtClean="0">
                <a:solidFill>
                  <a:srgbClr val="505050"/>
                </a:solidFill>
                <a:ea typeface="Calibri" panose="020F0502020204030204" pitchFamily="34" charset="0"/>
                <a:cs typeface="Calibri" panose="020F0502020204030204" pitchFamily="34" charset="0"/>
              </a:rPr>
              <a:t>App Gallery</a:t>
            </a:r>
          </a:p>
          <a:p>
            <a:pPr>
              <a:spcAft>
                <a:spcPts val="300"/>
              </a:spcAft>
              <a:defRPr/>
            </a:pPr>
            <a:r>
              <a:rPr lang="en-US" sz="1400" dirty="0" smtClean="0">
                <a:solidFill>
                  <a:srgbClr val="505050"/>
                </a:solidFill>
                <a:ea typeface="Calibri" panose="020F0502020204030204" pitchFamily="34" charset="0"/>
                <a:cs typeface="Calibri" panose="020F0502020204030204" pitchFamily="34" charset="0"/>
              </a:rPr>
              <a:t>DR </a:t>
            </a:r>
            <a:r>
              <a:rPr lang="en-US" sz="1400" dirty="0">
                <a:solidFill>
                  <a:srgbClr val="505050"/>
                </a:solidFill>
                <a:ea typeface="Calibri" panose="020F0502020204030204" pitchFamily="34" charset="0"/>
                <a:cs typeface="Calibri" panose="020F0502020204030204" pitchFamily="34" charset="0"/>
              </a:rPr>
              <a:t>Site Support</a:t>
            </a:r>
          </a:p>
          <a:p>
            <a:pPr>
              <a:spcAft>
                <a:spcPts val="300"/>
              </a:spcAft>
              <a:defRPr/>
            </a:pPr>
            <a:r>
              <a:rPr lang="en-US" sz="1400" dirty="0" err="1" smtClean="0">
                <a:solidFill>
                  <a:srgbClr val="505050"/>
                </a:solidFill>
                <a:ea typeface="Calibri" panose="020F0502020204030204" pitchFamily="34" charset="0"/>
                <a:cs typeface="Calibri" panose="020F0502020204030204" pitchFamily="34" charset="0"/>
              </a:rPr>
              <a:t>WildCard</a:t>
            </a:r>
            <a:r>
              <a:rPr lang="en-US" sz="1400" dirty="0" smtClean="0">
                <a:solidFill>
                  <a:srgbClr val="505050"/>
                </a:solidFill>
                <a:ea typeface="Calibri" panose="020F0502020204030204" pitchFamily="34" charset="0"/>
                <a:cs typeface="Calibri" panose="020F0502020204030204" pitchFamily="34" charset="0"/>
              </a:rPr>
              <a:t> </a:t>
            </a:r>
            <a:r>
              <a:rPr lang="en-US" sz="1400" dirty="0">
                <a:solidFill>
                  <a:srgbClr val="505050"/>
                </a:solidFill>
                <a:ea typeface="Calibri" panose="020F0502020204030204" pitchFamily="34" charset="0"/>
                <a:cs typeface="Calibri" panose="020F0502020204030204" pitchFamily="34" charset="0"/>
              </a:rPr>
              <a:t>Support</a:t>
            </a:r>
          </a:p>
          <a:p>
            <a:pPr>
              <a:spcAft>
                <a:spcPts val="300"/>
              </a:spcAft>
              <a:defRPr/>
            </a:pPr>
            <a:r>
              <a:rPr lang="en-US" sz="1400" dirty="0" smtClean="0">
                <a:solidFill>
                  <a:srgbClr val="505050"/>
                </a:solidFill>
                <a:ea typeface="Calibri" panose="020F0502020204030204" pitchFamily="34" charset="0"/>
                <a:cs typeface="Calibri" panose="020F0502020204030204" pitchFamily="34" charset="0"/>
              </a:rPr>
              <a:t>Dedicated </a:t>
            </a:r>
            <a:r>
              <a:rPr lang="en-US" sz="1400" dirty="0">
                <a:solidFill>
                  <a:srgbClr val="505050"/>
                </a:solidFill>
                <a:ea typeface="Calibri" panose="020F0502020204030204" pitchFamily="34" charset="0"/>
                <a:cs typeface="Calibri" panose="020F0502020204030204" pitchFamily="34" charset="0"/>
              </a:rPr>
              <a:t>IP address</a:t>
            </a:r>
          </a:p>
          <a:p>
            <a:pPr>
              <a:spcAft>
                <a:spcPts val="300"/>
              </a:spcAft>
              <a:defRPr/>
            </a:pPr>
            <a:r>
              <a:rPr lang="en-US" sz="1400" dirty="0" smtClean="0">
                <a:solidFill>
                  <a:srgbClr val="505050"/>
                </a:solidFill>
                <a:ea typeface="Calibri" panose="020F0502020204030204" pitchFamily="34" charset="0"/>
                <a:cs typeface="Calibri" panose="020F0502020204030204" pitchFamily="34" charset="0"/>
              </a:rPr>
              <a:t>HTTP </a:t>
            </a:r>
            <a:r>
              <a:rPr lang="en-US" sz="1400" dirty="0">
                <a:solidFill>
                  <a:srgbClr val="505050"/>
                </a:solidFill>
                <a:ea typeface="Calibri" panose="020F0502020204030204" pitchFamily="34" charset="0"/>
                <a:cs typeface="Calibri" panose="020F0502020204030204" pitchFamily="34" charset="0"/>
              </a:rPr>
              <a:t>Compression </a:t>
            </a:r>
          </a:p>
          <a:p>
            <a:pPr>
              <a:spcAft>
                <a:spcPts val="300"/>
              </a:spcAft>
              <a:defRPr/>
            </a:pPr>
            <a:r>
              <a:rPr lang="en-US" sz="1400" dirty="0" err="1" smtClean="0">
                <a:solidFill>
                  <a:srgbClr val="505050"/>
                </a:solidFill>
                <a:ea typeface="Calibri" panose="020F0502020204030204" pitchFamily="34" charset="0"/>
                <a:cs typeface="Calibri" panose="020F0502020204030204" pitchFamily="34" charset="0"/>
              </a:rPr>
              <a:t>WebJobs</a:t>
            </a:r>
            <a:endParaRPr lang="en-US" sz="1400" dirty="0">
              <a:solidFill>
                <a:srgbClr val="505050"/>
              </a:solidFill>
              <a:ea typeface="Calibri" panose="020F0502020204030204" pitchFamily="34" charset="0"/>
              <a:cs typeface="Calibri" panose="020F0502020204030204" pitchFamily="34" charset="0"/>
            </a:endParaRPr>
          </a:p>
          <a:p>
            <a:pPr>
              <a:spcAft>
                <a:spcPts val="300"/>
              </a:spcAft>
              <a:defRPr/>
            </a:pPr>
            <a:r>
              <a:rPr lang="en-US" sz="1400" dirty="0" smtClean="0">
                <a:solidFill>
                  <a:srgbClr val="505050"/>
                </a:solidFill>
                <a:ea typeface="Calibri" panose="020F0502020204030204" pitchFamily="34" charset="0"/>
                <a:cs typeface="Calibri" panose="020F0502020204030204" pitchFamily="34" charset="0"/>
              </a:rPr>
              <a:t>Sticky </a:t>
            </a:r>
            <a:r>
              <a:rPr lang="en-US" sz="1400" dirty="0">
                <a:solidFill>
                  <a:srgbClr val="505050"/>
                </a:solidFill>
                <a:ea typeface="Calibri" panose="020F0502020204030204" pitchFamily="34" charset="0"/>
                <a:cs typeface="Calibri" panose="020F0502020204030204" pitchFamily="34" charset="0"/>
              </a:rPr>
              <a:t>Sessions </a:t>
            </a:r>
          </a:p>
          <a:p>
            <a:pPr>
              <a:spcAft>
                <a:spcPts val="300"/>
              </a:spcAft>
              <a:defRPr/>
            </a:pPr>
            <a:endParaRPr lang="en-US" sz="1400" dirty="0">
              <a:solidFill>
                <a:srgbClr val="505050"/>
              </a:solidFill>
              <a:ea typeface="Calibri" panose="020F0502020204030204" pitchFamily="34" charset="0"/>
              <a:cs typeface="Calibri" panose="020F0502020204030204" pitchFamily="34" charset="0"/>
            </a:endParaRPr>
          </a:p>
        </p:txBody>
      </p:sp>
      <p:sp>
        <p:nvSpPr>
          <p:cNvPr id="13" name="TextBox 12"/>
          <p:cNvSpPr txBox="1"/>
          <p:nvPr/>
        </p:nvSpPr>
        <p:spPr>
          <a:xfrm>
            <a:off x="7318260" y="2128512"/>
            <a:ext cx="3684005" cy="3811813"/>
          </a:xfrm>
          <a:prstGeom prst="rect">
            <a:avLst/>
          </a:prstGeom>
          <a:noFill/>
          <a:ln>
            <a:noFill/>
          </a:ln>
        </p:spPr>
        <p:txBody>
          <a:bodyPr wrap="square" lIns="182880" tIns="146304" rIns="182880" bIns="146304" rtlCol="0">
            <a:spAutoFit/>
          </a:bodyPr>
          <a:lstStyle/>
          <a:p>
            <a:pPr>
              <a:spcAft>
                <a:spcPts val="300"/>
              </a:spcAft>
              <a:defRPr/>
            </a:pPr>
            <a:r>
              <a:rPr lang="en-US" sz="1400" dirty="0">
                <a:solidFill>
                  <a:srgbClr val="505050"/>
                </a:solidFill>
                <a:ea typeface="Calibri" panose="020F0502020204030204" pitchFamily="34" charset="0"/>
                <a:cs typeface="Calibri" panose="020F0502020204030204" pitchFamily="34" charset="0"/>
              </a:rPr>
              <a:t>Remote </a:t>
            </a:r>
            <a:r>
              <a:rPr lang="en-US" sz="1400" dirty="0" smtClean="0">
                <a:solidFill>
                  <a:srgbClr val="505050"/>
                </a:solidFill>
                <a:ea typeface="Calibri" panose="020F0502020204030204" pitchFamily="34" charset="0"/>
                <a:cs typeface="Calibri" panose="020F0502020204030204" pitchFamily="34" charset="0"/>
              </a:rPr>
              <a:t>Debugging w/ Visual Studio </a:t>
            </a:r>
            <a:endParaRPr lang="en-US" sz="1400" dirty="0">
              <a:solidFill>
                <a:srgbClr val="505050"/>
              </a:solidFill>
              <a:ea typeface="Calibri" panose="020F0502020204030204" pitchFamily="34" charset="0"/>
              <a:cs typeface="Calibri" panose="020F0502020204030204" pitchFamily="34" charset="0"/>
            </a:endParaRPr>
          </a:p>
          <a:p>
            <a:pPr>
              <a:spcAft>
                <a:spcPts val="300"/>
              </a:spcAft>
              <a:defRPr/>
            </a:pPr>
            <a:r>
              <a:rPr lang="en-US" sz="1400" dirty="0">
                <a:solidFill>
                  <a:srgbClr val="505050"/>
                </a:solidFill>
                <a:ea typeface="Calibri" panose="020F0502020204030204" pitchFamily="34" charset="0"/>
                <a:cs typeface="Calibri" panose="020F0502020204030204" pitchFamily="34" charset="0"/>
              </a:rPr>
              <a:t>Site Staging Slots</a:t>
            </a:r>
          </a:p>
          <a:p>
            <a:pPr>
              <a:spcAft>
                <a:spcPts val="300"/>
              </a:spcAft>
              <a:defRPr/>
            </a:pPr>
            <a:r>
              <a:rPr lang="en-US" sz="1400" dirty="0">
                <a:solidFill>
                  <a:srgbClr val="505050"/>
                </a:solidFill>
                <a:ea typeface="Calibri" panose="020F0502020204030204" pitchFamily="34" charset="0"/>
                <a:cs typeface="Calibri" panose="020F0502020204030204" pitchFamily="34" charset="0"/>
              </a:rPr>
              <a:t>Testing in Production</a:t>
            </a:r>
          </a:p>
          <a:p>
            <a:pPr>
              <a:spcAft>
                <a:spcPts val="300"/>
              </a:spcAft>
              <a:defRPr/>
            </a:pPr>
            <a:r>
              <a:rPr lang="en-US" sz="1400" dirty="0" smtClean="0">
                <a:solidFill>
                  <a:srgbClr val="505050"/>
                </a:solidFill>
                <a:ea typeface="Calibri" panose="020F0502020204030204" pitchFamily="34" charset="0"/>
                <a:cs typeface="Calibri" panose="020F0502020204030204" pitchFamily="34" charset="0"/>
              </a:rPr>
              <a:t>Continuous Integration/Deployment </a:t>
            </a:r>
          </a:p>
          <a:p>
            <a:pPr>
              <a:spcAft>
                <a:spcPts val="300"/>
              </a:spcAft>
              <a:defRPr/>
            </a:pPr>
            <a:r>
              <a:rPr lang="en-US" sz="1400" dirty="0" smtClean="0">
                <a:solidFill>
                  <a:srgbClr val="505050"/>
                </a:solidFill>
                <a:ea typeface="Calibri" panose="020F0502020204030204" pitchFamily="34" charset="0"/>
                <a:cs typeface="Calibri" panose="020F0502020204030204" pitchFamily="34" charset="0"/>
              </a:rPr>
              <a:t>Git, Visual Studio Online and GitHub</a:t>
            </a:r>
          </a:p>
          <a:p>
            <a:pPr>
              <a:spcAft>
                <a:spcPts val="300"/>
              </a:spcAft>
              <a:defRPr/>
            </a:pPr>
            <a:r>
              <a:rPr lang="en-US" sz="1400" dirty="0" smtClean="0">
                <a:solidFill>
                  <a:srgbClr val="505050"/>
                </a:solidFill>
                <a:ea typeface="Calibri" panose="020F0502020204030204" pitchFamily="34" charset="0"/>
                <a:cs typeface="Calibri" panose="020F0502020204030204" pitchFamily="34" charset="0"/>
              </a:rPr>
              <a:t>App &amp; Site Diagnostics</a:t>
            </a:r>
          </a:p>
          <a:p>
            <a:pPr>
              <a:spcAft>
                <a:spcPts val="300"/>
              </a:spcAft>
              <a:defRPr/>
            </a:pPr>
            <a:r>
              <a:rPr lang="en-US" sz="1400" dirty="0" smtClean="0">
                <a:solidFill>
                  <a:srgbClr val="505050"/>
                </a:solidFill>
                <a:ea typeface="Calibri" panose="020F0502020204030204" pitchFamily="34" charset="0"/>
                <a:cs typeface="Calibri" panose="020F0502020204030204" pitchFamily="34" charset="0"/>
              </a:rPr>
              <a:t>OS &amp; Framework Patching  </a:t>
            </a:r>
          </a:p>
          <a:p>
            <a:pPr>
              <a:spcAft>
                <a:spcPts val="300"/>
              </a:spcAft>
              <a:defRPr/>
            </a:pPr>
            <a:r>
              <a:rPr lang="en-US" sz="1400" dirty="0" smtClean="0">
                <a:solidFill>
                  <a:srgbClr val="505050"/>
                </a:solidFill>
                <a:ea typeface="Calibri" panose="020F0502020204030204" pitchFamily="34" charset="0"/>
                <a:cs typeface="Calibri" panose="020F0502020204030204" pitchFamily="34" charset="0"/>
              </a:rPr>
              <a:t>Site </a:t>
            </a:r>
            <a:r>
              <a:rPr lang="en-US" sz="1400" dirty="0">
                <a:solidFill>
                  <a:srgbClr val="505050"/>
                </a:solidFill>
                <a:ea typeface="Calibri" panose="020F0502020204030204" pitchFamily="34" charset="0"/>
                <a:cs typeface="Calibri" panose="020F0502020204030204" pitchFamily="34" charset="0"/>
              </a:rPr>
              <a:t>Extensions Gallery </a:t>
            </a:r>
          </a:p>
          <a:p>
            <a:pPr>
              <a:spcAft>
                <a:spcPts val="300"/>
              </a:spcAft>
              <a:defRPr/>
            </a:pPr>
            <a:r>
              <a:rPr lang="en-US" sz="1400" dirty="0" smtClean="0">
                <a:solidFill>
                  <a:srgbClr val="505050"/>
                </a:solidFill>
                <a:ea typeface="Calibri" panose="020F0502020204030204" pitchFamily="34" charset="0"/>
                <a:cs typeface="Calibri" panose="020F0502020204030204" pitchFamily="34" charset="0"/>
              </a:rPr>
              <a:t>NET</a:t>
            </a:r>
            <a:r>
              <a:rPr lang="en-US" sz="1400" dirty="0">
                <a:solidFill>
                  <a:srgbClr val="505050"/>
                </a:solidFill>
                <a:ea typeface="Calibri" panose="020F0502020204030204" pitchFamily="34" charset="0"/>
                <a:cs typeface="Calibri" panose="020F0502020204030204" pitchFamily="34" charset="0"/>
              </a:rPr>
              <a:t>, PHP, Python, Node, Java</a:t>
            </a:r>
          </a:p>
          <a:p>
            <a:pPr>
              <a:spcAft>
                <a:spcPts val="300"/>
              </a:spcAft>
              <a:defRPr/>
            </a:pPr>
            <a:r>
              <a:rPr lang="en-US" sz="1400" dirty="0" smtClean="0">
                <a:solidFill>
                  <a:srgbClr val="505050"/>
                </a:solidFill>
                <a:ea typeface="Calibri" panose="020F0502020204030204" pitchFamily="34" charset="0"/>
                <a:cs typeface="Calibri" panose="020F0502020204030204" pitchFamily="34" charset="0"/>
              </a:rPr>
              <a:t>Framework </a:t>
            </a:r>
            <a:r>
              <a:rPr lang="en-US" sz="1400" dirty="0">
                <a:solidFill>
                  <a:srgbClr val="505050"/>
                </a:solidFill>
                <a:ea typeface="Calibri" panose="020F0502020204030204" pitchFamily="34" charset="0"/>
                <a:cs typeface="Calibri" panose="020F0502020204030204" pitchFamily="34" charset="0"/>
              </a:rPr>
              <a:t>Installer</a:t>
            </a:r>
          </a:p>
          <a:p>
            <a:pPr>
              <a:spcAft>
                <a:spcPts val="300"/>
              </a:spcAft>
              <a:defRPr/>
            </a:pPr>
            <a:r>
              <a:rPr lang="en-US" sz="1400" dirty="0" smtClean="0">
                <a:solidFill>
                  <a:srgbClr val="505050"/>
                </a:solidFill>
                <a:ea typeface="Calibri" panose="020F0502020204030204" pitchFamily="34" charset="0"/>
                <a:cs typeface="Calibri" panose="020F0502020204030204" pitchFamily="34" charset="0"/>
              </a:rPr>
              <a:t>Browser-based </a:t>
            </a:r>
            <a:r>
              <a:rPr lang="en-US" sz="1400" dirty="0">
                <a:solidFill>
                  <a:srgbClr val="505050"/>
                </a:solidFill>
                <a:ea typeface="Calibri" panose="020F0502020204030204" pitchFamily="34" charset="0"/>
                <a:cs typeface="Calibri" panose="020F0502020204030204" pitchFamily="34" charset="0"/>
              </a:rPr>
              <a:t>editing</a:t>
            </a:r>
          </a:p>
          <a:p>
            <a:pPr>
              <a:spcAft>
                <a:spcPts val="300"/>
              </a:spcAft>
              <a:defRPr/>
            </a:pPr>
            <a:r>
              <a:rPr lang="en-US" sz="1400" dirty="0" smtClean="0">
                <a:solidFill>
                  <a:srgbClr val="505050"/>
                </a:solidFill>
                <a:ea typeface="Calibri" panose="020F0502020204030204" pitchFamily="34" charset="0"/>
                <a:cs typeface="Calibri" panose="020F0502020204030204" pitchFamily="34" charset="0"/>
              </a:rPr>
              <a:t>Auto-Healing</a:t>
            </a:r>
            <a:endParaRPr lang="en-US" sz="1400" dirty="0">
              <a:solidFill>
                <a:srgbClr val="505050"/>
              </a:solidFill>
              <a:ea typeface="Calibri" panose="020F0502020204030204" pitchFamily="34" charset="0"/>
              <a:cs typeface="Calibri" panose="020F0502020204030204" pitchFamily="34" charset="0"/>
            </a:endParaRPr>
          </a:p>
          <a:p>
            <a:pPr>
              <a:spcAft>
                <a:spcPts val="300"/>
              </a:spcAft>
              <a:defRPr/>
            </a:pPr>
            <a:r>
              <a:rPr lang="en-US" sz="1400" dirty="0" smtClean="0">
                <a:solidFill>
                  <a:srgbClr val="505050"/>
                </a:solidFill>
                <a:ea typeface="Calibri" panose="020F0502020204030204" pitchFamily="34" charset="0"/>
                <a:cs typeface="Calibri" panose="020F0502020204030204" pitchFamily="34" charset="0"/>
              </a:rPr>
              <a:t>Logging </a:t>
            </a:r>
            <a:r>
              <a:rPr lang="en-US" sz="1400" dirty="0">
                <a:solidFill>
                  <a:srgbClr val="505050"/>
                </a:solidFill>
                <a:ea typeface="Calibri" panose="020F0502020204030204" pitchFamily="34" charset="0"/>
                <a:cs typeface="Calibri" panose="020F0502020204030204" pitchFamily="34" charset="0"/>
              </a:rPr>
              <a:t>and Auditing </a:t>
            </a:r>
          </a:p>
          <a:p>
            <a:pPr>
              <a:spcAft>
                <a:spcPts val="300"/>
              </a:spcAft>
              <a:defRPr/>
            </a:pPr>
            <a:endParaRPr lang="en-US" sz="1400" dirty="0">
              <a:solidFill>
                <a:srgbClr val="505050"/>
              </a:solidFill>
              <a:ea typeface="Calibri" panose="020F0502020204030204" pitchFamily="34" charset="0"/>
              <a:cs typeface="Calibri" panose="020F0502020204030204" pitchFamily="34" charset="0"/>
            </a:endParaRPr>
          </a:p>
        </p:txBody>
      </p:sp>
      <p:grpSp>
        <p:nvGrpSpPr>
          <p:cNvPr id="5" name="Group 4"/>
          <p:cNvGrpSpPr/>
          <p:nvPr/>
        </p:nvGrpSpPr>
        <p:grpSpPr>
          <a:xfrm>
            <a:off x="677772" y="1510272"/>
            <a:ext cx="6661492" cy="4478152"/>
            <a:chOff x="677772" y="1510272"/>
            <a:chExt cx="6661492" cy="2634747"/>
          </a:xfrm>
        </p:grpSpPr>
        <p:sp>
          <p:nvSpPr>
            <p:cNvPr id="4" name="Rectangle 3"/>
            <p:cNvSpPr/>
            <p:nvPr/>
          </p:nvSpPr>
          <p:spPr>
            <a:xfrm>
              <a:off x="677772" y="1510272"/>
              <a:ext cx="92249" cy="263474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5" name="Rectangle 14"/>
            <p:cNvSpPr/>
            <p:nvPr/>
          </p:nvSpPr>
          <p:spPr>
            <a:xfrm>
              <a:off x="3974425" y="1510272"/>
              <a:ext cx="92249" cy="2634747"/>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6" name="Rectangle 15"/>
            <p:cNvSpPr/>
            <p:nvPr/>
          </p:nvSpPr>
          <p:spPr>
            <a:xfrm>
              <a:off x="7247015" y="1510272"/>
              <a:ext cx="92249" cy="2634747"/>
            </a:xfrm>
            <a:prstGeom prst="rect">
              <a:avLst/>
            </a:prstGeom>
            <a:solidFill>
              <a:srgbClr val="E34F2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
        <p:nvSpPr>
          <p:cNvPr id="17" name="TextBox 16"/>
          <p:cNvSpPr txBox="1"/>
          <p:nvPr/>
        </p:nvSpPr>
        <p:spPr>
          <a:xfrm>
            <a:off x="560798" y="6249850"/>
            <a:ext cx="5493299" cy="276999"/>
          </a:xfrm>
          <a:prstGeom prst="rect">
            <a:avLst/>
          </a:prstGeom>
          <a:noFill/>
        </p:spPr>
        <p:txBody>
          <a:bodyPr wrap="none" rtlCol="0">
            <a:spAutoFit/>
          </a:bodyPr>
          <a:lstStyle/>
          <a:p>
            <a:pPr>
              <a:defRPr/>
            </a:pPr>
            <a:r>
              <a:rPr lang="en-US" sz="1200" b="1" dirty="0" smtClean="0">
                <a:solidFill>
                  <a:srgbClr val="505050"/>
                </a:solidFill>
              </a:rPr>
              <a:t>Note: </a:t>
            </a:r>
            <a:r>
              <a:rPr lang="en-US" sz="1200" dirty="0" smtClean="0">
                <a:solidFill>
                  <a:srgbClr val="505050"/>
                </a:solidFill>
              </a:rPr>
              <a:t>Features to discuss today are in </a:t>
            </a:r>
            <a:r>
              <a:rPr lang="en-US" sz="1200" b="1" dirty="0" smtClean="0">
                <a:solidFill>
                  <a:srgbClr val="505050"/>
                </a:solidFill>
              </a:rPr>
              <a:t>BOLD.  </a:t>
            </a:r>
            <a:r>
              <a:rPr lang="en-US" sz="1200" dirty="0" smtClean="0">
                <a:solidFill>
                  <a:srgbClr val="505050"/>
                </a:solidFill>
              </a:rPr>
              <a:t>Items with a * are to be released</a:t>
            </a:r>
            <a:endParaRPr lang="en-US" sz="1200" dirty="0">
              <a:solidFill>
                <a:srgbClr val="505050"/>
              </a:solidFill>
            </a:endParaRPr>
          </a:p>
        </p:txBody>
      </p:sp>
    </p:spTree>
    <p:extLst>
      <p:ext uri="{BB962C8B-B14F-4D97-AF65-F5344CB8AC3E}">
        <p14:creationId xmlns:p14="http://schemas.microsoft.com/office/powerpoint/2010/main" val="3239224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3403078" y="1139431"/>
            <a:ext cx="7337472" cy="4733853"/>
          </a:xfrm>
          <a:prstGeom prst="rect">
            <a:avLst/>
          </a:prstGeom>
        </p:spPr>
      </p:pic>
      <p:pic>
        <p:nvPicPr>
          <p:cNvPr id="26" name="Picture 25"/>
          <p:cNvPicPr>
            <a:picLocks noChangeAspect="1"/>
          </p:cNvPicPr>
          <p:nvPr/>
        </p:nvPicPr>
        <p:blipFill>
          <a:blip r:embed="rId3"/>
          <a:stretch>
            <a:fillRect/>
          </a:stretch>
        </p:blipFill>
        <p:spPr>
          <a:xfrm>
            <a:off x="2845363" y="4756882"/>
            <a:ext cx="2172796" cy="1400076"/>
          </a:xfrm>
          <a:prstGeom prst="rect">
            <a:avLst/>
          </a:prstGeom>
        </p:spPr>
      </p:pic>
      <p:pic>
        <p:nvPicPr>
          <p:cNvPr id="30" name="Picture 29"/>
          <p:cNvPicPr>
            <a:picLocks noChangeAspect="1"/>
          </p:cNvPicPr>
          <p:nvPr/>
        </p:nvPicPr>
        <p:blipFill>
          <a:blip r:embed="rId4"/>
          <a:stretch>
            <a:fillRect/>
          </a:stretch>
        </p:blipFill>
        <p:spPr>
          <a:xfrm>
            <a:off x="6609503" y="0"/>
            <a:ext cx="5582498" cy="3614057"/>
          </a:xfrm>
          <a:prstGeom prst="rect">
            <a:avLst/>
          </a:prstGeom>
        </p:spPr>
      </p:pic>
      <p:pic>
        <p:nvPicPr>
          <p:cNvPr id="38" name="Picture 37"/>
          <p:cNvPicPr>
            <a:picLocks noChangeAspect="1"/>
          </p:cNvPicPr>
          <p:nvPr/>
        </p:nvPicPr>
        <p:blipFill>
          <a:blip r:embed="rId5"/>
          <a:stretch>
            <a:fillRect/>
          </a:stretch>
        </p:blipFill>
        <p:spPr>
          <a:xfrm>
            <a:off x="8314314" y="267557"/>
            <a:ext cx="3327550" cy="2147980"/>
          </a:xfrm>
          <a:prstGeom prst="rect">
            <a:avLst/>
          </a:prstGeom>
        </p:spPr>
      </p:pic>
      <p:pic>
        <p:nvPicPr>
          <p:cNvPr id="18" name="Picture 17"/>
          <p:cNvPicPr>
            <a:picLocks noChangeAspect="1"/>
          </p:cNvPicPr>
          <p:nvPr/>
        </p:nvPicPr>
        <p:blipFill>
          <a:blip r:embed="rId6"/>
          <a:stretch>
            <a:fillRect/>
          </a:stretch>
        </p:blipFill>
        <p:spPr>
          <a:xfrm>
            <a:off x="3412002" y="1562735"/>
            <a:ext cx="6671087" cy="4310549"/>
          </a:xfrm>
          <a:prstGeom prst="rect">
            <a:avLst/>
          </a:prstGeom>
        </p:spPr>
      </p:pic>
      <p:pic>
        <p:nvPicPr>
          <p:cNvPr id="37" name="Picture 36"/>
          <p:cNvPicPr>
            <a:picLocks noChangeAspect="1"/>
          </p:cNvPicPr>
          <p:nvPr/>
        </p:nvPicPr>
        <p:blipFill>
          <a:blip r:embed="rId7"/>
          <a:stretch>
            <a:fillRect/>
          </a:stretch>
        </p:blipFill>
        <p:spPr>
          <a:xfrm>
            <a:off x="5276712" y="-373535"/>
            <a:ext cx="7264070" cy="4706299"/>
          </a:xfrm>
          <a:prstGeom prst="rect">
            <a:avLst/>
          </a:prstGeom>
        </p:spPr>
      </p:pic>
      <p:pic>
        <p:nvPicPr>
          <p:cNvPr id="16" name="Picture 15"/>
          <p:cNvPicPr>
            <a:picLocks noChangeAspect="1"/>
          </p:cNvPicPr>
          <p:nvPr/>
        </p:nvPicPr>
        <p:blipFill>
          <a:blip r:embed="rId8"/>
          <a:stretch>
            <a:fillRect/>
          </a:stretch>
        </p:blipFill>
        <p:spPr>
          <a:xfrm>
            <a:off x="10156137" y="2523955"/>
            <a:ext cx="1468487" cy="948588"/>
          </a:xfrm>
          <a:prstGeom prst="rect">
            <a:avLst/>
          </a:prstGeom>
        </p:spPr>
      </p:pic>
      <p:pic>
        <p:nvPicPr>
          <p:cNvPr id="21" name="Picture 20"/>
          <p:cNvPicPr>
            <a:picLocks noChangeAspect="1"/>
          </p:cNvPicPr>
          <p:nvPr/>
        </p:nvPicPr>
        <p:blipFill>
          <a:blip r:embed="rId9"/>
          <a:stretch>
            <a:fillRect/>
          </a:stretch>
        </p:blipFill>
        <p:spPr>
          <a:xfrm>
            <a:off x="1" y="3743009"/>
            <a:ext cx="4822369" cy="3124661"/>
          </a:xfrm>
          <a:prstGeom prst="rect">
            <a:avLst/>
          </a:prstGeom>
        </p:spPr>
      </p:pic>
      <p:pic>
        <p:nvPicPr>
          <p:cNvPr id="22" name="Picture 21"/>
          <p:cNvPicPr>
            <a:picLocks noChangeAspect="1"/>
          </p:cNvPicPr>
          <p:nvPr/>
        </p:nvPicPr>
        <p:blipFill>
          <a:blip r:embed="rId10"/>
          <a:stretch>
            <a:fillRect/>
          </a:stretch>
        </p:blipFill>
        <p:spPr>
          <a:xfrm>
            <a:off x="257977" y="5707769"/>
            <a:ext cx="1481228" cy="956627"/>
          </a:xfrm>
          <a:prstGeom prst="rect">
            <a:avLst/>
          </a:prstGeom>
        </p:spPr>
      </p:pic>
      <p:grpSp>
        <p:nvGrpSpPr>
          <p:cNvPr id="36" name="Group 35"/>
          <p:cNvGrpSpPr/>
          <p:nvPr/>
        </p:nvGrpSpPr>
        <p:grpSpPr>
          <a:xfrm>
            <a:off x="10509568" y="388212"/>
            <a:ext cx="934789" cy="1104751"/>
            <a:chOff x="7012021" y="-1253215"/>
            <a:chExt cx="1237500" cy="1462500"/>
          </a:xfrm>
        </p:grpSpPr>
        <p:pic>
          <p:nvPicPr>
            <p:cNvPr id="33" name="Picture 32"/>
            <p:cNvPicPr>
              <a:picLocks noChangeAspect="1"/>
            </p:cNvPicPr>
            <p:nvPr/>
          </p:nvPicPr>
          <p:blipFill>
            <a:blip r:embed="rId11"/>
            <a:stretch>
              <a:fillRect/>
            </a:stretch>
          </p:blipFill>
          <p:spPr>
            <a:xfrm>
              <a:off x="7012021" y="-1253215"/>
              <a:ext cx="1237500" cy="1462500"/>
            </a:xfrm>
            <a:prstGeom prst="rect">
              <a:avLst/>
            </a:prstGeom>
          </p:spPr>
        </p:pic>
        <p:pic>
          <p:nvPicPr>
            <p:cNvPr id="35" name="Picture 34"/>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7703687" y="-912406"/>
              <a:ext cx="314973" cy="435664"/>
            </a:xfrm>
            <a:prstGeom prst="rect">
              <a:avLst/>
            </a:prstGeom>
          </p:spPr>
        </p:pic>
      </p:grpSp>
      <p:sp>
        <p:nvSpPr>
          <p:cNvPr id="31" name="TextBox 30"/>
          <p:cNvSpPr txBox="1"/>
          <p:nvPr/>
        </p:nvSpPr>
        <p:spPr>
          <a:xfrm>
            <a:off x="581025" y="457200"/>
            <a:ext cx="3600450" cy="707886"/>
          </a:xfrm>
          <a:prstGeom prst="rect">
            <a:avLst/>
          </a:prstGeom>
          <a:noFill/>
        </p:spPr>
        <p:txBody>
          <a:bodyPr wrap="square" rtlCol="0">
            <a:spAutoFit/>
          </a:bodyPr>
          <a:lstStyle/>
          <a:p>
            <a:r>
              <a:rPr lang="en-US" sz="4000" dirty="0" err="1">
                <a:solidFill>
                  <a:srgbClr val="FFFFFF"/>
                </a:solidFill>
                <a:latin typeface="Segoe UI Light" panose="020B0502040204020203" pitchFamily="34" charset="0"/>
                <a:cs typeface="Segoe UI Light" panose="020B0502040204020203" pitchFamily="34" charset="0"/>
              </a:rPr>
              <a:t>WebJobs</a:t>
            </a:r>
            <a:endParaRPr lang="en-US" sz="4000" dirty="0">
              <a:solidFill>
                <a:srgbClr val="FFFFFF"/>
              </a:solidFill>
              <a:latin typeface="Segoe UI Light" panose="020B0502040204020203" pitchFamily="34" charset="0"/>
              <a:cs typeface="Segoe UI Light" panose="020B0502040204020203" pitchFamily="34" charset="0"/>
            </a:endParaRPr>
          </a:p>
        </p:txBody>
      </p:sp>
      <p:pic>
        <p:nvPicPr>
          <p:cNvPr id="40" name="Picture 39"/>
          <p:cNvPicPr>
            <a:picLocks noChangeAspect="1"/>
          </p:cNvPicPr>
          <p:nvPr/>
        </p:nvPicPr>
        <p:blipFill>
          <a:blip r:embed="rId13"/>
          <a:stretch>
            <a:fillRect/>
          </a:stretch>
        </p:blipFill>
        <p:spPr>
          <a:xfrm>
            <a:off x="8087219" y="1636202"/>
            <a:ext cx="1507500" cy="978750"/>
          </a:xfrm>
          <a:prstGeom prst="rect">
            <a:avLst/>
          </a:prstGeom>
        </p:spPr>
      </p:pic>
      <p:pic>
        <p:nvPicPr>
          <p:cNvPr id="27" name="Picture 26"/>
          <p:cNvPicPr>
            <a:picLocks noChangeAspect="1"/>
          </p:cNvPicPr>
          <p:nvPr/>
        </p:nvPicPr>
        <p:blipFill>
          <a:blip r:embed="rId14"/>
          <a:stretch>
            <a:fillRect/>
          </a:stretch>
        </p:blipFill>
        <p:spPr>
          <a:xfrm>
            <a:off x="215340" y="3302216"/>
            <a:ext cx="2092500" cy="2340000"/>
          </a:xfrm>
          <a:prstGeom prst="rect">
            <a:avLst/>
          </a:prstGeom>
        </p:spPr>
      </p:pic>
      <p:pic>
        <p:nvPicPr>
          <p:cNvPr id="28" name="Picture 27"/>
          <p:cNvPicPr>
            <a:picLocks noChangeAspect="1"/>
          </p:cNvPicPr>
          <p:nvPr/>
        </p:nvPicPr>
        <p:blipFill>
          <a:blip r:embed="rId11"/>
          <a:stretch>
            <a:fillRect/>
          </a:stretch>
        </p:blipFill>
        <p:spPr>
          <a:xfrm>
            <a:off x="1447611" y="5043761"/>
            <a:ext cx="1237500" cy="1462500"/>
          </a:xfrm>
          <a:prstGeom prst="rect">
            <a:avLst/>
          </a:prstGeom>
        </p:spPr>
      </p:pic>
      <p:pic>
        <p:nvPicPr>
          <p:cNvPr id="29" name="Picture 28"/>
          <p:cNvPicPr>
            <a:picLocks noChangeAspect="1"/>
          </p:cNvPicPr>
          <p:nvPr/>
        </p:nvPicPr>
        <p:blipFill>
          <a:blip r:embed="rId15"/>
          <a:stretch>
            <a:fillRect/>
          </a:stretch>
        </p:blipFill>
        <p:spPr>
          <a:xfrm>
            <a:off x="2788810" y="4960912"/>
            <a:ext cx="447874" cy="1224190"/>
          </a:xfrm>
          <a:prstGeom prst="rect">
            <a:avLst/>
          </a:prstGeom>
        </p:spPr>
      </p:pic>
      <p:pic>
        <p:nvPicPr>
          <p:cNvPr id="47" name="Picture 46"/>
          <p:cNvPicPr>
            <a:picLocks noChangeAspect="1"/>
          </p:cNvPicPr>
          <p:nvPr/>
        </p:nvPicPr>
        <p:blipFill>
          <a:blip r:embed="rId16"/>
          <a:stretch>
            <a:fillRect/>
          </a:stretch>
        </p:blipFill>
        <p:spPr>
          <a:xfrm>
            <a:off x="4607525" y="3601907"/>
            <a:ext cx="2340000" cy="1473750"/>
          </a:xfrm>
          <a:prstGeom prst="rect">
            <a:avLst/>
          </a:prstGeom>
        </p:spPr>
      </p:pic>
      <p:pic>
        <p:nvPicPr>
          <p:cNvPr id="8" name="Picture 7"/>
          <p:cNvPicPr>
            <a:picLocks noChangeAspect="1"/>
          </p:cNvPicPr>
          <p:nvPr/>
        </p:nvPicPr>
        <p:blipFill>
          <a:blip r:embed="rId17"/>
          <a:stretch>
            <a:fillRect/>
          </a:stretch>
        </p:blipFill>
        <p:spPr>
          <a:xfrm>
            <a:off x="8780855" y="1629763"/>
            <a:ext cx="813864" cy="529958"/>
          </a:xfrm>
          <a:prstGeom prst="rect">
            <a:avLst/>
          </a:prstGeom>
        </p:spPr>
      </p:pic>
      <p:pic>
        <p:nvPicPr>
          <p:cNvPr id="10" name="Picture 9"/>
          <p:cNvPicPr>
            <a:picLocks noChangeAspect="1"/>
          </p:cNvPicPr>
          <p:nvPr/>
        </p:nvPicPr>
        <p:blipFill>
          <a:blip r:embed="rId18"/>
          <a:stretch>
            <a:fillRect/>
          </a:stretch>
        </p:blipFill>
        <p:spPr>
          <a:xfrm>
            <a:off x="6486668" y="1300403"/>
            <a:ext cx="3997065" cy="2580782"/>
          </a:xfrm>
          <a:prstGeom prst="rect">
            <a:avLst/>
          </a:prstGeom>
        </p:spPr>
      </p:pic>
      <p:grpSp>
        <p:nvGrpSpPr>
          <p:cNvPr id="44" name="Group 43"/>
          <p:cNvGrpSpPr/>
          <p:nvPr/>
        </p:nvGrpSpPr>
        <p:grpSpPr>
          <a:xfrm>
            <a:off x="5093246" y="606416"/>
            <a:ext cx="2775838" cy="4134755"/>
            <a:chOff x="3719625" y="-351356"/>
            <a:chExt cx="2775838" cy="4134755"/>
          </a:xfrm>
        </p:grpSpPr>
        <p:pic>
          <p:nvPicPr>
            <p:cNvPr id="45" name="Picture 44"/>
            <p:cNvPicPr>
              <a:picLocks noChangeAspect="1"/>
            </p:cNvPicPr>
            <p:nvPr/>
          </p:nvPicPr>
          <p:blipFill>
            <a:blip r:embed="rId19"/>
            <a:stretch>
              <a:fillRect/>
            </a:stretch>
          </p:blipFill>
          <p:spPr>
            <a:xfrm>
              <a:off x="3719625" y="-351356"/>
              <a:ext cx="2775838" cy="4134755"/>
            </a:xfrm>
            <a:prstGeom prst="rect">
              <a:avLst/>
            </a:prstGeom>
          </p:spPr>
        </p:pic>
        <p:pic>
          <p:nvPicPr>
            <p:cNvPr id="46" name="Picture 45"/>
            <p:cNvPicPr>
              <a:picLocks noChangeAspect="1"/>
            </p:cNvPicPr>
            <p:nvPr/>
          </p:nvPicPr>
          <p:blipFill>
            <a:blip r:embed="rId20"/>
            <a:stretch>
              <a:fillRect/>
            </a:stretch>
          </p:blipFill>
          <p:spPr>
            <a:xfrm>
              <a:off x="4484016" y="1290841"/>
              <a:ext cx="979669" cy="1295431"/>
            </a:xfrm>
            <a:prstGeom prst="rect">
              <a:avLst/>
            </a:prstGeom>
          </p:spPr>
        </p:pic>
      </p:grpSp>
      <p:pic>
        <p:nvPicPr>
          <p:cNvPr id="11" name="Picture 10"/>
          <p:cNvPicPr>
            <a:picLocks noChangeAspect="1"/>
          </p:cNvPicPr>
          <p:nvPr/>
        </p:nvPicPr>
        <p:blipFill>
          <a:blip r:embed="rId21"/>
          <a:stretch>
            <a:fillRect/>
          </a:stretch>
        </p:blipFill>
        <p:spPr>
          <a:xfrm>
            <a:off x="9141706" y="4968434"/>
            <a:ext cx="2301854" cy="1495516"/>
          </a:xfrm>
          <a:prstGeom prst="rect">
            <a:avLst/>
          </a:prstGeom>
        </p:spPr>
      </p:pic>
      <p:pic>
        <p:nvPicPr>
          <p:cNvPr id="12" name="Picture 11"/>
          <p:cNvPicPr>
            <a:picLocks noChangeAspect="1"/>
          </p:cNvPicPr>
          <p:nvPr/>
        </p:nvPicPr>
        <p:blipFill>
          <a:blip r:embed="rId22"/>
          <a:stretch>
            <a:fillRect/>
          </a:stretch>
        </p:blipFill>
        <p:spPr>
          <a:xfrm>
            <a:off x="9669923" y="4344555"/>
            <a:ext cx="1245420" cy="1789396"/>
          </a:xfrm>
          <a:prstGeom prst="rect">
            <a:avLst/>
          </a:prstGeom>
        </p:spPr>
      </p:pic>
      <p:pic>
        <p:nvPicPr>
          <p:cNvPr id="13" name="Picture 12"/>
          <p:cNvPicPr>
            <a:picLocks noChangeAspect="1"/>
          </p:cNvPicPr>
          <p:nvPr/>
        </p:nvPicPr>
        <p:blipFill>
          <a:blip r:embed="rId23"/>
          <a:stretch>
            <a:fillRect/>
          </a:stretch>
        </p:blipFill>
        <p:spPr>
          <a:xfrm>
            <a:off x="9490000" y="6190866"/>
            <a:ext cx="702179" cy="462975"/>
          </a:xfrm>
          <a:prstGeom prst="rect">
            <a:avLst/>
          </a:prstGeom>
        </p:spPr>
      </p:pic>
      <p:grpSp>
        <p:nvGrpSpPr>
          <p:cNvPr id="39" name="Group 38"/>
          <p:cNvGrpSpPr/>
          <p:nvPr/>
        </p:nvGrpSpPr>
        <p:grpSpPr>
          <a:xfrm>
            <a:off x="9787568" y="-79793"/>
            <a:ext cx="934789" cy="1104751"/>
            <a:chOff x="9827324" y="-40038"/>
            <a:chExt cx="934789" cy="1104751"/>
          </a:xfrm>
        </p:grpSpPr>
        <p:pic>
          <p:nvPicPr>
            <p:cNvPr id="41" name="Picture 40"/>
            <p:cNvPicPr>
              <a:picLocks noChangeAspect="1"/>
            </p:cNvPicPr>
            <p:nvPr/>
          </p:nvPicPr>
          <p:blipFill>
            <a:blip r:embed="rId11"/>
            <a:stretch>
              <a:fillRect/>
            </a:stretch>
          </p:blipFill>
          <p:spPr>
            <a:xfrm>
              <a:off x="9827324" y="-40038"/>
              <a:ext cx="934789" cy="1104751"/>
            </a:xfrm>
            <a:prstGeom prst="rect">
              <a:avLst/>
            </a:prstGeom>
          </p:spPr>
        </p:pic>
        <p:pic>
          <p:nvPicPr>
            <p:cNvPr id="42" name="Picture 41"/>
            <p:cNvPicPr>
              <a:picLocks noChangeAspect="1"/>
            </p:cNvPicPr>
            <p:nvPr/>
          </p:nvPicPr>
          <p:blipFill>
            <a:blip r:embed="rId24"/>
            <a:stretch>
              <a:fillRect/>
            </a:stretch>
          </p:blipFill>
          <p:spPr>
            <a:xfrm>
              <a:off x="10368710" y="254515"/>
              <a:ext cx="147937" cy="295874"/>
            </a:xfrm>
            <a:prstGeom prst="rect">
              <a:avLst/>
            </a:prstGeom>
          </p:spPr>
        </p:pic>
      </p:grpSp>
    </p:spTree>
    <p:extLst>
      <p:ext uri="{BB962C8B-B14F-4D97-AF65-F5344CB8AC3E}">
        <p14:creationId xmlns:p14="http://schemas.microsoft.com/office/powerpoint/2010/main" val="3604132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after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anim calcmode="lin" valueType="num">
                                      <p:cBhvr>
                                        <p:cTn id="8" dur="500" fill="hold"/>
                                        <p:tgtEl>
                                          <p:spTgt spid="44"/>
                                        </p:tgtEl>
                                        <p:attrNameLst>
                                          <p:attrName>ppt_x</p:attrName>
                                        </p:attrNameLst>
                                      </p:cBhvr>
                                      <p:tavLst>
                                        <p:tav tm="0">
                                          <p:val>
                                            <p:strVal val="#ppt_x"/>
                                          </p:val>
                                        </p:tav>
                                        <p:tav tm="100000">
                                          <p:val>
                                            <p:strVal val="#ppt_x"/>
                                          </p:val>
                                        </p:tav>
                                      </p:tavLst>
                                    </p:anim>
                                    <p:anim calcmode="lin" valueType="num">
                                      <p:cBhvr>
                                        <p:cTn id="9" dur="500" fill="hold"/>
                                        <p:tgtEl>
                                          <p:spTgt spid="44"/>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10" presetClass="entr" presetSubtype="0" fill="hold" nodeType="afterEffect">
                                  <p:stCondLst>
                                    <p:cond delay="100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xit" presetSubtype="0" fill="hold" nodeType="withEffect">
                                  <p:stCondLst>
                                    <p:cond delay="1000"/>
                                  </p:stCondLst>
                                  <p:childTnLst>
                                    <p:animEffect transition="out" filter="fade">
                                      <p:cBhvr>
                                        <p:cTn id="15" dur="500"/>
                                        <p:tgtEl>
                                          <p:spTgt spid="18"/>
                                        </p:tgtEl>
                                      </p:cBhvr>
                                    </p:animEffect>
                                    <p:set>
                                      <p:cBhvr>
                                        <p:cTn id="16" dur="1" fill="hold">
                                          <p:stCondLst>
                                            <p:cond delay="499"/>
                                          </p:stCondLst>
                                        </p:cTn>
                                        <p:tgtEl>
                                          <p:spTgt spid="18"/>
                                        </p:tgtEl>
                                        <p:attrNameLst>
                                          <p:attrName>style.visibility</p:attrName>
                                        </p:attrNameLst>
                                      </p:cBhvr>
                                      <p:to>
                                        <p:strVal val="hidden"/>
                                      </p:to>
                                    </p:set>
                                  </p:childTnLst>
                                </p:cTn>
                              </p:par>
                              <p:par>
                                <p:cTn id="17" presetID="10" presetClass="exit" presetSubtype="0" fill="hold" nodeType="withEffect">
                                  <p:stCondLst>
                                    <p:cond delay="1000"/>
                                  </p:stCondLst>
                                  <p:childTnLst>
                                    <p:animEffect transition="out" filter="fade">
                                      <p:cBhvr>
                                        <p:cTn id="18" dur="500"/>
                                        <p:tgtEl>
                                          <p:spTgt spid="40"/>
                                        </p:tgtEl>
                                      </p:cBhvr>
                                    </p:animEffect>
                                    <p:set>
                                      <p:cBhvr>
                                        <p:cTn id="19" dur="1" fill="hold">
                                          <p:stCondLst>
                                            <p:cond delay="499"/>
                                          </p:stCondLst>
                                        </p:cTn>
                                        <p:tgtEl>
                                          <p:spTgt spid="40"/>
                                        </p:tgtEl>
                                        <p:attrNameLst>
                                          <p:attrName>style.visibility</p:attrName>
                                        </p:attrNameLst>
                                      </p:cBhvr>
                                      <p:to>
                                        <p:strVal val="hidden"/>
                                      </p:to>
                                    </p:set>
                                  </p:childTnLst>
                                </p:cTn>
                              </p:par>
                              <p:par>
                                <p:cTn id="20" presetID="10" presetClass="entr" presetSubtype="0" fill="hold" nodeType="withEffect">
                                  <p:stCondLst>
                                    <p:cond delay="100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childTnLst>
                          </p:cTn>
                        </p:par>
                        <p:par>
                          <p:cTn id="23" fill="hold">
                            <p:stCondLst>
                              <p:cond delay="2000"/>
                            </p:stCondLst>
                            <p:childTnLst>
                              <p:par>
                                <p:cTn id="24" presetID="10" presetClass="entr" presetSubtype="0" fill="hold" nodeType="afterEffect">
                                  <p:stCondLst>
                                    <p:cond delay="50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500"/>
                                        <p:tgtEl>
                                          <p:spTgt spid="10"/>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500"/>
                                        <p:tgtEl>
                                          <p:spTgt spid="11"/>
                                        </p:tgtEl>
                                      </p:cBhvr>
                                    </p:animEffect>
                                  </p:childTnLst>
                                </p:cTn>
                              </p:par>
                            </p:childTnLst>
                          </p:cTn>
                        </p:par>
                        <p:par>
                          <p:cTn id="32" fill="hold">
                            <p:stCondLst>
                              <p:cond delay="500"/>
                            </p:stCondLst>
                            <p:childTnLst>
                              <p:par>
                                <p:cTn id="33" presetID="47" presetClass="entr" presetSubtype="0" fill="hold" nodeType="after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fade">
                                      <p:cBhvr>
                                        <p:cTn id="35" dur="1000"/>
                                        <p:tgtEl>
                                          <p:spTgt spid="12"/>
                                        </p:tgtEl>
                                      </p:cBhvr>
                                    </p:animEffect>
                                    <p:anim calcmode="lin" valueType="num">
                                      <p:cBhvr>
                                        <p:cTn id="36" dur="1000" fill="hold"/>
                                        <p:tgtEl>
                                          <p:spTgt spid="12"/>
                                        </p:tgtEl>
                                        <p:attrNameLst>
                                          <p:attrName>ppt_x</p:attrName>
                                        </p:attrNameLst>
                                      </p:cBhvr>
                                      <p:tavLst>
                                        <p:tav tm="0">
                                          <p:val>
                                            <p:strVal val="#ppt_x"/>
                                          </p:val>
                                        </p:tav>
                                        <p:tav tm="100000">
                                          <p:val>
                                            <p:strVal val="#ppt_x"/>
                                          </p:val>
                                        </p:tav>
                                      </p:tavLst>
                                    </p:anim>
                                    <p:anim calcmode="lin" valueType="num">
                                      <p:cBhvr>
                                        <p:cTn id="37" dur="1000" fill="hold"/>
                                        <p:tgtEl>
                                          <p:spTgt spid="12"/>
                                        </p:tgtEl>
                                        <p:attrNameLst>
                                          <p:attrName>ppt_y</p:attrName>
                                        </p:attrNameLst>
                                      </p:cBhvr>
                                      <p:tavLst>
                                        <p:tav tm="0">
                                          <p:val>
                                            <p:strVal val="#ppt_y-.1"/>
                                          </p:val>
                                        </p:tav>
                                        <p:tav tm="100000">
                                          <p:val>
                                            <p:strVal val="#ppt_y"/>
                                          </p:val>
                                        </p:tav>
                                      </p:tavLst>
                                    </p:anim>
                                  </p:childTnLst>
                                </p:cTn>
                              </p:par>
                              <p:par>
                                <p:cTn id="38" presetID="10" presetClass="entr" presetSubtype="0" fill="hold" nodeType="withEffect">
                                  <p:stCondLst>
                                    <p:cond delay="500"/>
                                  </p:stCondLst>
                                  <p:childTnLst>
                                    <p:set>
                                      <p:cBhvr>
                                        <p:cTn id="39" dur="1" fill="hold">
                                          <p:stCondLst>
                                            <p:cond delay="0"/>
                                          </p:stCondLst>
                                        </p:cTn>
                                        <p:tgtEl>
                                          <p:spTgt spid="13"/>
                                        </p:tgtEl>
                                        <p:attrNameLst>
                                          <p:attrName>style.visibility</p:attrName>
                                        </p:attrNameLst>
                                      </p:cBhvr>
                                      <p:to>
                                        <p:strVal val="visible"/>
                                      </p:to>
                                    </p:set>
                                    <p:animEffect transition="in" filter="fade">
                                      <p:cBhvr>
                                        <p:cTn id="40"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Running Modes</a:t>
            </a:r>
            <a:endParaRPr lang="en-US" dirty="0"/>
          </a:p>
        </p:txBody>
      </p:sp>
      <p:sp>
        <p:nvSpPr>
          <p:cNvPr id="7" name="Content Placeholder 6"/>
          <p:cNvSpPr>
            <a:spLocks noGrp="1"/>
          </p:cNvSpPr>
          <p:nvPr>
            <p:ph idx="1"/>
          </p:nvPr>
        </p:nvSpPr>
        <p:spPr>
          <a:xfrm>
            <a:off x="560798" y="1299956"/>
            <a:ext cx="11079822" cy="5397058"/>
          </a:xfrm>
        </p:spPr>
        <p:txBody>
          <a:bodyPr>
            <a:normAutofit fontScale="70000" lnSpcReduction="20000"/>
          </a:bodyPr>
          <a:lstStyle/>
          <a:p>
            <a:r>
              <a:rPr lang="en-US" dirty="0" smtClean="0"/>
              <a:t>On Demand</a:t>
            </a:r>
          </a:p>
          <a:p>
            <a:pPr lvl="1"/>
            <a:r>
              <a:rPr lang="en-US" dirty="0" smtClean="0"/>
              <a:t>User or REST API triggers the WebJob to execute</a:t>
            </a:r>
          </a:p>
          <a:p>
            <a:pPr lvl="1"/>
            <a:endParaRPr lang="en-US" dirty="0"/>
          </a:p>
          <a:p>
            <a:r>
              <a:rPr lang="en-US" dirty="0" smtClean="0"/>
              <a:t>Scheduled</a:t>
            </a:r>
          </a:p>
          <a:p>
            <a:pPr lvl="1"/>
            <a:r>
              <a:rPr lang="en-US" dirty="0" smtClean="0"/>
              <a:t>Uses the Azure Scheduler to trigger the execution </a:t>
            </a:r>
          </a:p>
          <a:p>
            <a:pPr lvl="1"/>
            <a:r>
              <a:rPr lang="en-US" dirty="0" smtClean="0"/>
              <a:t>Load balanced automatically (execution happens on the least loaded instance)</a:t>
            </a:r>
          </a:p>
          <a:p>
            <a:pPr lvl="1"/>
            <a:endParaRPr lang="en-US" dirty="0"/>
          </a:p>
          <a:p>
            <a:r>
              <a:rPr lang="en-US" dirty="0" smtClean="0"/>
              <a:t>Continuous</a:t>
            </a:r>
          </a:p>
          <a:p>
            <a:pPr lvl="1"/>
            <a:r>
              <a:rPr lang="en-US" dirty="0" smtClean="0"/>
              <a:t>Runs all the time (as a service)</a:t>
            </a:r>
          </a:p>
          <a:p>
            <a:pPr lvl="1"/>
            <a:r>
              <a:rPr lang="en-US" dirty="0" smtClean="0"/>
              <a:t>System monitors the state, and restarts if needed</a:t>
            </a:r>
          </a:p>
          <a:p>
            <a:pPr lvl="1"/>
            <a:endParaRPr lang="en-US" dirty="0" smtClean="0"/>
          </a:p>
          <a:p>
            <a:pPr lvl="1"/>
            <a:r>
              <a:rPr lang="en-US" dirty="0" smtClean="0"/>
              <a:t>Singleton or Parallel mode</a:t>
            </a:r>
          </a:p>
          <a:p>
            <a:pPr lvl="1"/>
            <a:endParaRPr lang="en-US" dirty="0" smtClean="0"/>
          </a:p>
          <a:p>
            <a:pPr lvl="1"/>
            <a:r>
              <a:rPr lang="en-US" dirty="0" smtClean="0"/>
              <a:t>Contiguous</a:t>
            </a:r>
          </a:p>
          <a:p>
            <a:pPr lvl="2"/>
            <a:r>
              <a:rPr lang="en-US" dirty="0" smtClean="0"/>
              <a:t>System monitor is only running when the website runs</a:t>
            </a:r>
          </a:p>
          <a:p>
            <a:pPr lvl="2"/>
            <a:r>
              <a:rPr lang="en-US" dirty="0" smtClean="0"/>
              <a:t>Hence, WebJob will only run when the website is up (sites with no traffic, sleep)</a:t>
            </a:r>
          </a:p>
          <a:p>
            <a:pPr lvl="2"/>
            <a:endParaRPr lang="en-US" dirty="0"/>
          </a:p>
          <a:p>
            <a:pPr lvl="1"/>
            <a:r>
              <a:rPr lang="en-US" dirty="0" smtClean="0"/>
              <a:t>Event triggered</a:t>
            </a:r>
          </a:p>
          <a:p>
            <a:pPr lvl="2"/>
            <a:r>
              <a:rPr lang="en-US" dirty="0" smtClean="0"/>
              <a:t>Can be bound to storage, queues, blob, tables, service bus queues, </a:t>
            </a:r>
          </a:p>
          <a:p>
            <a:pPr lvl="2"/>
            <a:r>
              <a:rPr lang="en-US" dirty="0" smtClean="0"/>
              <a:t>Execute on an event </a:t>
            </a:r>
          </a:p>
          <a:p>
            <a:pPr lvl="1"/>
            <a:endParaRPr lang="en-US" dirty="0" smtClean="0"/>
          </a:p>
          <a:p>
            <a:pPr lvl="1"/>
            <a:endParaRPr lang="en-US" dirty="0" smtClean="0"/>
          </a:p>
          <a:p>
            <a:endParaRPr lang="en-US" dirty="0"/>
          </a:p>
          <a:p>
            <a:endParaRPr lang="en-US" dirty="0"/>
          </a:p>
        </p:txBody>
      </p:sp>
    </p:spTree>
    <p:extLst>
      <p:ext uri="{BB962C8B-B14F-4D97-AF65-F5344CB8AC3E}">
        <p14:creationId xmlns:p14="http://schemas.microsoft.com/office/powerpoint/2010/main" val="29778017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55182" y="109058"/>
            <a:ext cx="11655425" cy="900113"/>
          </a:xfrm>
          <a:prstGeom prst="rect">
            <a:avLst/>
          </a:prstGeom>
        </p:spPr>
        <p:txBody>
          <a:bodyPr/>
          <a:lstStyle/>
          <a:p>
            <a:r>
              <a:rPr lang="ru-RU" dirty="0" smtClean="0"/>
              <a:t>Создание </a:t>
            </a:r>
            <a:r>
              <a:rPr lang="en-US" dirty="0" err="1" smtClean="0"/>
              <a:t>webjobs</a:t>
            </a:r>
            <a:endParaRPr lang="ru-RU" dirty="0"/>
          </a:p>
        </p:txBody>
      </p:sp>
      <p:sp>
        <p:nvSpPr>
          <p:cNvPr id="5" name="Rectangle 2"/>
          <p:cNvSpPr txBox="1">
            <a:spLocks noChangeArrowheads="1"/>
          </p:cNvSpPr>
          <p:nvPr/>
        </p:nvSpPr>
        <p:spPr bwMode="auto">
          <a:xfrm>
            <a:off x="2915633" y="5836043"/>
            <a:ext cx="1049857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eaLnBrk="0" fontAlgn="base" hangingPunct="0">
              <a:lnSpc>
                <a:spcPct val="100000"/>
              </a:lnSpc>
              <a:spcBef>
                <a:spcPct val="0"/>
              </a:spcBef>
              <a:spcAft>
                <a:spcPct val="0"/>
              </a:spcAft>
            </a:pPr>
            <a:r>
              <a:rPr lang="ru-RU" altLang="ru-RU" sz="1800" dirty="0" smtClean="0">
                <a:solidFill>
                  <a:schemeClr val="tx1">
                    <a:lumMod val="50000"/>
                  </a:schemeClr>
                </a:solidFill>
                <a:latin typeface="+mj-lt"/>
              </a:rPr>
              <a:t>Через портал </a:t>
            </a:r>
            <a:r>
              <a:rPr lang="en-US" altLang="ru-RU" sz="1800" dirty="0" smtClean="0">
                <a:solidFill>
                  <a:schemeClr val="tx1">
                    <a:lumMod val="50000"/>
                  </a:schemeClr>
                </a:solidFill>
                <a:latin typeface="+mj-lt"/>
              </a:rPr>
              <a:t>azure.com – </a:t>
            </a:r>
            <a:r>
              <a:rPr lang="ru-RU" altLang="ru-RU" sz="1800" dirty="0" smtClean="0">
                <a:solidFill>
                  <a:schemeClr val="tx1">
                    <a:lumMod val="50000"/>
                  </a:schemeClr>
                </a:solidFill>
                <a:latin typeface="+mj-lt"/>
              </a:rPr>
              <a:t>загружаем </a:t>
            </a:r>
            <a:r>
              <a:rPr lang="en-US" altLang="ru-RU" sz="1800" dirty="0" smtClean="0">
                <a:solidFill>
                  <a:schemeClr val="tx1">
                    <a:lumMod val="50000"/>
                  </a:schemeClr>
                </a:solidFill>
                <a:latin typeface="+mj-lt"/>
              </a:rPr>
              <a:t>zip </a:t>
            </a:r>
            <a:r>
              <a:rPr lang="ru-RU" altLang="ru-RU" sz="1800" dirty="0" smtClean="0">
                <a:solidFill>
                  <a:schemeClr val="tx1">
                    <a:lumMod val="50000"/>
                  </a:schemeClr>
                </a:solidFill>
                <a:latin typeface="+mj-lt"/>
              </a:rPr>
              <a:t>файл</a:t>
            </a:r>
          </a:p>
        </p:txBody>
      </p:sp>
      <p:pic>
        <p:nvPicPr>
          <p:cNvPr id="7" name="Picture 6"/>
          <p:cNvPicPr>
            <a:picLocks noChangeAspect="1"/>
          </p:cNvPicPr>
          <p:nvPr/>
        </p:nvPicPr>
        <p:blipFill>
          <a:blip r:embed="rId2"/>
          <a:stretch>
            <a:fillRect/>
          </a:stretch>
        </p:blipFill>
        <p:spPr>
          <a:xfrm>
            <a:off x="7856742" y="3352800"/>
            <a:ext cx="4186401" cy="3551848"/>
          </a:xfrm>
          <a:prstGeom prst="rect">
            <a:avLst/>
          </a:prstGeom>
        </p:spPr>
      </p:pic>
      <p:sp>
        <p:nvSpPr>
          <p:cNvPr id="8" name="TextBox 7"/>
          <p:cNvSpPr txBox="1"/>
          <p:nvPr/>
        </p:nvSpPr>
        <p:spPr>
          <a:xfrm>
            <a:off x="255182" y="999424"/>
            <a:ext cx="10154091" cy="2769989"/>
          </a:xfrm>
          <a:prstGeom prst="rect">
            <a:avLst/>
          </a:prstGeom>
          <a:noFill/>
        </p:spPr>
        <p:txBody>
          <a:bodyPr wrap="square" rtlCol="0">
            <a:spAutoFit/>
          </a:bodyPr>
          <a:lstStyle/>
          <a:p>
            <a:pPr eaLnBrk="0" fontAlgn="base" hangingPunct="0">
              <a:lnSpc>
                <a:spcPct val="100000"/>
              </a:lnSpc>
              <a:spcBef>
                <a:spcPct val="0"/>
              </a:spcBef>
              <a:spcAft>
                <a:spcPct val="0"/>
              </a:spcAft>
            </a:pPr>
            <a:r>
              <a:rPr lang="ru-RU" altLang="ru-RU" dirty="0">
                <a:solidFill>
                  <a:schemeClr val="tx1">
                    <a:lumMod val="50000"/>
                  </a:schemeClr>
                </a:solidFill>
                <a:latin typeface="+mj-lt"/>
              </a:rPr>
              <a:t>Через </a:t>
            </a:r>
            <a:r>
              <a:rPr lang="en-US" altLang="ru-RU" dirty="0">
                <a:solidFill>
                  <a:schemeClr val="tx1">
                    <a:lumMod val="50000"/>
                  </a:schemeClr>
                </a:solidFill>
                <a:latin typeface="+mj-lt"/>
              </a:rPr>
              <a:t>ftp : </a:t>
            </a:r>
            <a:endParaRPr lang="ru-RU" altLang="ru-RU" dirty="0">
              <a:solidFill>
                <a:schemeClr val="tx1">
                  <a:lumMod val="50000"/>
                </a:schemeClr>
              </a:solidFill>
              <a:latin typeface="+mj-lt"/>
            </a:endParaRPr>
          </a:p>
          <a:p>
            <a:pPr marL="800100" lvl="1" indent="-342900" eaLnBrk="0" fontAlgn="base" hangingPunct="0">
              <a:lnSpc>
                <a:spcPct val="100000"/>
              </a:lnSpc>
              <a:spcBef>
                <a:spcPct val="0"/>
              </a:spcBef>
              <a:spcAft>
                <a:spcPct val="0"/>
              </a:spcAft>
              <a:buFont typeface="Arial" panose="020B0604020202020204" pitchFamily="34" charset="0"/>
              <a:buChar char="•"/>
            </a:pPr>
            <a:r>
              <a:rPr lang="ru-RU" altLang="ru-RU" sz="2000" dirty="0" smtClean="0">
                <a:solidFill>
                  <a:schemeClr val="tx1">
                    <a:lumMod val="50000"/>
                  </a:schemeClr>
                </a:solidFill>
                <a:latin typeface="+mj-lt"/>
              </a:rPr>
              <a:t>Для </a:t>
            </a:r>
            <a:r>
              <a:rPr lang="en-US" altLang="ru-RU" sz="2000" dirty="0">
                <a:solidFill>
                  <a:schemeClr val="tx1">
                    <a:lumMod val="50000"/>
                  </a:schemeClr>
                </a:solidFill>
                <a:latin typeface="+mj-lt"/>
              </a:rPr>
              <a:t>triggered job </a:t>
            </a:r>
            <a:r>
              <a:rPr lang="ru-RU" altLang="ru-RU" sz="2000" dirty="0">
                <a:solidFill>
                  <a:schemeClr val="tx1">
                    <a:lumMod val="50000"/>
                  </a:schemeClr>
                </a:solidFill>
                <a:latin typeface="+mj-lt"/>
              </a:rPr>
              <a:t>копируем все в  путь (внутри </a:t>
            </a:r>
            <a:r>
              <a:rPr lang="ru-RU" altLang="ru-RU" sz="2000" dirty="0" smtClean="0">
                <a:solidFill>
                  <a:schemeClr val="tx1">
                    <a:lumMod val="50000"/>
                  </a:schemeClr>
                </a:solidFill>
                <a:latin typeface="+mj-lt"/>
              </a:rPr>
              <a:t>вебсайта)</a:t>
            </a:r>
            <a:r>
              <a:rPr lang="en-US" altLang="ru-RU" sz="2000" dirty="0" smtClean="0">
                <a:solidFill>
                  <a:schemeClr val="tx1">
                    <a:lumMod val="50000"/>
                  </a:schemeClr>
                </a:solidFill>
                <a:latin typeface="+mj-lt"/>
              </a:rPr>
              <a:t>: site/</a:t>
            </a:r>
            <a:r>
              <a:rPr lang="en-US" altLang="ru-RU" sz="2000" dirty="0" err="1" smtClean="0">
                <a:solidFill>
                  <a:schemeClr val="tx1">
                    <a:lumMod val="50000"/>
                  </a:schemeClr>
                </a:solidFill>
                <a:latin typeface="+mj-lt"/>
              </a:rPr>
              <a:t>wwwroot</a:t>
            </a:r>
            <a:r>
              <a:rPr lang="en-US" altLang="ru-RU" sz="2000" dirty="0" smtClean="0">
                <a:solidFill>
                  <a:schemeClr val="tx1">
                    <a:lumMod val="50000"/>
                  </a:schemeClr>
                </a:solidFill>
                <a:latin typeface="+mj-lt"/>
              </a:rPr>
              <a:t>/</a:t>
            </a:r>
            <a:r>
              <a:rPr lang="en-US" altLang="ru-RU" sz="2000" dirty="0" err="1" smtClean="0">
                <a:solidFill>
                  <a:schemeClr val="tx1">
                    <a:lumMod val="50000"/>
                  </a:schemeClr>
                </a:solidFill>
                <a:latin typeface="+mj-lt"/>
              </a:rPr>
              <a:t>app_data</a:t>
            </a:r>
            <a:r>
              <a:rPr lang="en-US" altLang="ru-RU" sz="2000" dirty="0" smtClean="0">
                <a:solidFill>
                  <a:schemeClr val="tx1">
                    <a:lumMod val="50000"/>
                  </a:schemeClr>
                </a:solidFill>
                <a:latin typeface="+mj-lt"/>
              </a:rPr>
              <a:t>/jobs/triggered</a:t>
            </a:r>
            <a:r>
              <a:rPr lang="en-US" altLang="ru-RU" sz="2000" dirty="0">
                <a:solidFill>
                  <a:schemeClr val="tx1">
                    <a:lumMod val="50000"/>
                  </a:schemeClr>
                </a:solidFill>
                <a:latin typeface="+mj-lt"/>
              </a:rPr>
              <a:t>/{job name} </a:t>
            </a:r>
            <a:endParaRPr lang="ru-RU" altLang="ru-RU" sz="2000" dirty="0">
              <a:solidFill>
                <a:schemeClr val="tx1">
                  <a:lumMod val="50000"/>
                </a:schemeClr>
              </a:solidFill>
              <a:latin typeface="+mj-lt"/>
            </a:endParaRPr>
          </a:p>
          <a:p>
            <a:pPr marL="800100" lvl="1" indent="-342900" eaLnBrk="0" fontAlgn="base" hangingPunct="0">
              <a:lnSpc>
                <a:spcPct val="100000"/>
              </a:lnSpc>
              <a:spcBef>
                <a:spcPct val="0"/>
              </a:spcBef>
              <a:spcAft>
                <a:spcPct val="0"/>
              </a:spcAft>
              <a:buFont typeface="Arial" panose="020B0604020202020204" pitchFamily="34" charset="0"/>
              <a:buChar char="•"/>
            </a:pPr>
            <a:r>
              <a:rPr lang="ru-RU" altLang="ru-RU" sz="2000" dirty="0">
                <a:solidFill>
                  <a:schemeClr val="tx1">
                    <a:lumMod val="50000"/>
                  </a:schemeClr>
                </a:solidFill>
                <a:latin typeface="+mj-lt"/>
              </a:rPr>
              <a:t>Для </a:t>
            </a:r>
            <a:r>
              <a:rPr lang="en-US" altLang="ru-RU" sz="2000" dirty="0">
                <a:solidFill>
                  <a:schemeClr val="tx1">
                    <a:lumMod val="50000"/>
                  </a:schemeClr>
                </a:solidFill>
                <a:latin typeface="+mj-lt"/>
              </a:rPr>
              <a:t>continuous job </a:t>
            </a:r>
            <a:r>
              <a:rPr lang="ru-RU" altLang="ru-RU" sz="2000" dirty="0" smtClean="0">
                <a:solidFill>
                  <a:schemeClr val="tx1">
                    <a:lumMod val="50000"/>
                  </a:schemeClr>
                </a:solidFill>
                <a:latin typeface="+mj-lt"/>
              </a:rPr>
              <a:t>копируем все в путь (внутри вебсайта)</a:t>
            </a:r>
            <a:r>
              <a:rPr lang="en-US" altLang="ru-RU" sz="2000" dirty="0" smtClean="0">
                <a:solidFill>
                  <a:schemeClr val="tx1">
                    <a:lumMod val="50000"/>
                  </a:schemeClr>
                </a:solidFill>
                <a:latin typeface="+mj-lt"/>
              </a:rPr>
              <a:t>:  </a:t>
            </a:r>
            <a:r>
              <a:rPr lang="en-US" altLang="ru-RU" sz="2000" dirty="0">
                <a:solidFill>
                  <a:schemeClr val="tx1">
                    <a:lumMod val="50000"/>
                  </a:schemeClr>
                </a:solidFill>
                <a:latin typeface="+mj-lt"/>
              </a:rPr>
              <a:t>site/</a:t>
            </a:r>
            <a:r>
              <a:rPr lang="en-US" altLang="ru-RU" sz="2000" dirty="0" err="1">
                <a:solidFill>
                  <a:schemeClr val="tx1">
                    <a:lumMod val="50000"/>
                  </a:schemeClr>
                </a:solidFill>
                <a:latin typeface="+mj-lt"/>
              </a:rPr>
              <a:t>wwwroot</a:t>
            </a:r>
            <a:r>
              <a:rPr lang="en-US" altLang="ru-RU" sz="2000" dirty="0">
                <a:solidFill>
                  <a:schemeClr val="tx1">
                    <a:lumMod val="50000"/>
                  </a:schemeClr>
                </a:solidFill>
                <a:latin typeface="+mj-lt"/>
              </a:rPr>
              <a:t>/</a:t>
            </a:r>
            <a:r>
              <a:rPr lang="en-US" altLang="ru-RU" sz="2000" dirty="0" err="1">
                <a:solidFill>
                  <a:schemeClr val="tx1">
                    <a:lumMod val="50000"/>
                  </a:schemeClr>
                </a:solidFill>
                <a:latin typeface="+mj-lt"/>
              </a:rPr>
              <a:t>app_data</a:t>
            </a:r>
            <a:r>
              <a:rPr lang="en-US" altLang="ru-RU" sz="2000" dirty="0">
                <a:solidFill>
                  <a:schemeClr val="tx1">
                    <a:lumMod val="50000"/>
                  </a:schemeClr>
                </a:solidFill>
                <a:latin typeface="+mj-lt"/>
              </a:rPr>
              <a:t>/jobs/continuous/{job name</a:t>
            </a:r>
            <a:r>
              <a:rPr lang="en-US" altLang="ru-RU" sz="2000" dirty="0" smtClean="0">
                <a:solidFill>
                  <a:schemeClr val="tx1">
                    <a:lumMod val="50000"/>
                  </a:schemeClr>
                </a:solidFill>
                <a:latin typeface="+mj-lt"/>
              </a:rPr>
              <a:t>}</a:t>
            </a:r>
            <a:endParaRPr lang="ru-RU" altLang="ru-RU" sz="2000" dirty="0" smtClean="0">
              <a:solidFill>
                <a:schemeClr val="tx1">
                  <a:lumMod val="50000"/>
                </a:schemeClr>
              </a:solidFill>
              <a:latin typeface="+mj-lt"/>
            </a:endParaRPr>
          </a:p>
          <a:p>
            <a:pPr marL="342900" indent="-342900" eaLnBrk="0" fontAlgn="base" hangingPunct="0">
              <a:spcBef>
                <a:spcPct val="0"/>
              </a:spcBef>
              <a:spcAft>
                <a:spcPct val="0"/>
              </a:spcAft>
              <a:buFont typeface="Arial" panose="020B0604020202020204" pitchFamily="34" charset="0"/>
              <a:buChar char="•"/>
            </a:pPr>
            <a:r>
              <a:rPr lang="ru-RU" altLang="ru-RU" sz="2000" dirty="0" smtClean="0">
                <a:solidFill>
                  <a:schemeClr val="tx1">
                    <a:lumMod val="50000"/>
                  </a:schemeClr>
                </a:solidFill>
                <a:latin typeface="+mj-lt"/>
              </a:rPr>
              <a:t>Используя </a:t>
            </a:r>
            <a:r>
              <a:rPr lang="en-US" altLang="ru-RU" sz="2000" dirty="0" smtClean="0">
                <a:solidFill>
                  <a:schemeClr val="tx1">
                    <a:lumMod val="50000"/>
                  </a:schemeClr>
                </a:solidFill>
                <a:latin typeface="+mj-lt"/>
              </a:rPr>
              <a:t>SDK REST API </a:t>
            </a:r>
          </a:p>
          <a:p>
            <a:pPr eaLnBrk="0" fontAlgn="base" hangingPunct="0">
              <a:spcBef>
                <a:spcPct val="0"/>
              </a:spcBef>
              <a:spcAft>
                <a:spcPct val="0"/>
              </a:spcAft>
            </a:pPr>
            <a:r>
              <a:rPr lang="en-US" altLang="ru-RU" sz="2000" dirty="0" smtClean="0">
                <a:solidFill>
                  <a:schemeClr val="tx1">
                    <a:lumMod val="50000"/>
                  </a:schemeClr>
                </a:solidFill>
                <a:latin typeface="+mj-lt"/>
              </a:rPr>
              <a:t>(</a:t>
            </a:r>
            <a:r>
              <a:rPr lang="ru-RU" altLang="ru-RU" sz="2000" dirty="0" smtClean="0">
                <a:solidFill>
                  <a:schemeClr val="tx1">
                    <a:lumMod val="50000"/>
                  </a:schemeClr>
                </a:solidFill>
                <a:latin typeface="+mj-lt"/>
              </a:rPr>
              <a:t>например </a:t>
            </a:r>
            <a:r>
              <a:rPr lang="en-US" altLang="ru-RU" sz="2000" dirty="0">
                <a:solidFill>
                  <a:schemeClr val="tx1">
                    <a:lumMod val="50000"/>
                  </a:schemeClr>
                </a:solidFill>
                <a:latin typeface="+mj-lt"/>
              </a:rPr>
              <a:t>PUT /</a:t>
            </a:r>
            <a:r>
              <a:rPr lang="en-US" altLang="ru-RU" sz="2000" dirty="0" err="1">
                <a:solidFill>
                  <a:schemeClr val="tx1">
                    <a:lumMod val="50000"/>
                  </a:schemeClr>
                </a:solidFill>
                <a:latin typeface="+mj-lt"/>
              </a:rPr>
              <a:t>api</a:t>
            </a:r>
            <a:r>
              <a:rPr lang="en-US" altLang="ru-RU" sz="2000" dirty="0">
                <a:solidFill>
                  <a:schemeClr val="tx1">
                    <a:lumMod val="50000"/>
                  </a:schemeClr>
                </a:solidFill>
                <a:latin typeface="+mj-lt"/>
              </a:rPr>
              <a:t>/zip/site/</a:t>
            </a:r>
            <a:r>
              <a:rPr lang="en-US" altLang="ru-RU" sz="2000" dirty="0" err="1">
                <a:solidFill>
                  <a:schemeClr val="tx1">
                    <a:lumMod val="50000"/>
                  </a:schemeClr>
                </a:solidFill>
                <a:latin typeface="+mj-lt"/>
              </a:rPr>
              <a:t>wwwroot</a:t>
            </a:r>
            <a:r>
              <a:rPr lang="en-US" altLang="ru-RU" sz="2000" dirty="0">
                <a:solidFill>
                  <a:schemeClr val="tx1">
                    <a:lumMod val="50000"/>
                  </a:schemeClr>
                </a:solidFill>
                <a:latin typeface="+mj-lt"/>
              </a:rPr>
              <a:t>/</a:t>
            </a:r>
            <a:r>
              <a:rPr lang="en-US" altLang="ru-RU" sz="2000" dirty="0" err="1">
                <a:solidFill>
                  <a:schemeClr val="tx1">
                    <a:lumMod val="50000"/>
                  </a:schemeClr>
                </a:solidFill>
                <a:latin typeface="+mj-lt"/>
              </a:rPr>
              <a:t>App_Data</a:t>
            </a:r>
            <a:r>
              <a:rPr lang="en-US" altLang="ru-RU" sz="2000" dirty="0">
                <a:solidFill>
                  <a:schemeClr val="tx1">
                    <a:lumMod val="50000"/>
                  </a:schemeClr>
                </a:solidFill>
                <a:latin typeface="+mj-lt"/>
              </a:rPr>
              <a:t>/jobs/continuous/{job name</a:t>
            </a:r>
            <a:r>
              <a:rPr lang="en-US" altLang="ru-RU" sz="2000" dirty="0" smtClean="0">
                <a:solidFill>
                  <a:schemeClr val="tx1">
                    <a:lumMod val="50000"/>
                  </a:schemeClr>
                </a:solidFill>
                <a:latin typeface="+mj-lt"/>
              </a:rPr>
              <a:t>}/</a:t>
            </a:r>
            <a:r>
              <a:rPr lang="ru-RU" altLang="ru-RU" sz="2000" dirty="0" smtClean="0">
                <a:solidFill>
                  <a:schemeClr val="tx1">
                    <a:lumMod val="50000"/>
                  </a:schemeClr>
                </a:solidFill>
                <a:latin typeface="+mj-lt"/>
              </a:rPr>
              <a:t> )</a:t>
            </a:r>
            <a:endParaRPr lang="en-US" altLang="ru-RU" sz="2000" dirty="0">
              <a:solidFill>
                <a:schemeClr val="tx1">
                  <a:lumMod val="50000"/>
                </a:schemeClr>
              </a:solidFill>
              <a:latin typeface="+mj-lt"/>
            </a:endParaRPr>
          </a:p>
          <a:p>
            <a:pPr eaLnBrk="0" fontAlgn="base" hangingPunct="0">
              <a:lnSpc>
                <a:spcPct val="100000"/>
              </a:lnSpc>
              <a:spcBef>
                <a:spcPct val="0"/>
              </a:spcBef>
              <a:spcAft>
                <a:spcPct val="0"/>
              </a:spcAft>
            </a:pPr>
            <a:endParaRPr lang="ru-RU" altLang="ru-RU" dirty="0">
              <a:solidFill>
                <a:schemeClr val="tx1">
                  <a:lumMod val="50000"/>
                </a:schemeClr>
              </a:solidFill>
              <a:latin typeface="+mj-lt"/>
            </a:endParaRPr>
          </a:p>
          <a:p>
            <a:endParaRPr lang="ru-RU" dirty="0">
              <a:latin typeface="+mj-lt"/>
            </a:endParaRPr>
          </a:p>
        </p:txBody>
      </p:sp>
    </p:spTree>
    <p:extLst>
      <p:ext uri="{BB962C8B-B14F-4D97-AF65-F5344CB8AC3E}">
        <p14:creationId xmlns:p14="http://schemas.microsoft.com/office/powerpoint/2010/main" val="33989606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4302847" y="3246438"/>
            <a:ext cx="7428489" cy="3164753"/>
          </a:xfrm>
          <a:prstGeom prst="rect">
            <a:avLst/>
          </a:prstGeom>
        </p:spPr>
        <p:txBody>
          <a:bodyPr/>
          <a:lstStyle/>
          <a:p>
            <a:r>
              <a:rPr lang="en-US" sz="2400" dirty="0" smtClean="0"/>
              <a:t>.</a:t>
            </a:r>
            <a:r>
              <a:rPr lang="en-US" sz="2400" dirty="0" err="1"/>
              <a:t>cmd</a:t>
            </a:r>
            <a:r>
              <a:rPr lang="en-US" sz="2400" dirty="0"/>
              <a:t>, .bat, .exe (using windows </a:t>
            </a:r>
            <a:r>
              <a:rPr lang="en-US" sz="2400" dirty="0" err="1"/>
              <a:t>cmd</a:t>
            </a:r>
            <a:r>
              <a:rPr lang="en-US" sz="2400" dirty="0"/>
              <a:t>)</a:t>
            </a:r>
          </a:p>
          <a:p>
            <a:r>
              <a:rPr lang="en-US" sz="2400" dirty="0"/>
              <a:t>.ps1 (using </a:t>
            </a:r>
            <a:r>
              <a:rPr lang="en-US" sz="2400" dirty="0" err="1"/>
              <a:t>powershell</a:t>
            </a:r>
            <a:r>
              <a:rPr lang="en-US" sz="2400" dirty="0"/>
              <a:t>)</a:t>
            </a:r>
          </a:p>
          <a:p>
            <a:r>
              <a:rPr lang="en-US" sz="2400" dirty="0"/>
              <a:t>.</a:t>
            </a:r>
            <a:r>
              <a:rPr lang="en-US" sz="2400" dirty="0" err="1"/>
              <a:t>sh</a:t>
            </a:r>
            <a:r>
              <a:rPr lang="en-US" sz="2400" dirty="0"/>
              <a:t> (using bash)</a:t>
            </a:r>
          </a:p>
          <a:p>
            <a:r>
              <a:rPr lang="en-US" sz="2400" dirty="0"/>
              <a:t>.</a:t>
            </a:r>
            <a:r>
              <a:rPr lang="en-US" sz="2400" dirty="0" err="1"/>
              <a:t>php</a:t>
            </a:r>
            <a:r>
              <a:rPr lang="en-US" sz="2400" dirty="0"/>
              <a:t> (using </a:t>
            </a:r>
            <a:r>
              <a:rPr lang="en-US" sz="2400" dirty="0" err="1"/>
              <a:t>php</a:t>
            </a:r>
            <a:r>
              <a:rPr lang="en-US" sz="2400" dirty="0"/>
              <a:t>)</a:t>
            </a:r>
          </a:p>
          <a:p>
            <a:r>
              <a:rPr lang="en-US" sz="2400" dirty="0"/>
              <a:t>.</a:t>
            </a:r>
            <a:r>
              <a:rPr lang="en-US" sz="2400" dirty="0" err="1"/>
              <a:t>py</a:t>
            </a:r>
            <a:r>
              <a:rPr lang="en-US" sz="2400" dirty="0"/>
              <a:t> (using python)</a:t>
            </a:r>
          </a:p>
          <a:p>
            <a:r>
              <a:rPr lang="en-US" sz="2400" dirty="0"/>
              <a:t>.</a:t>
            </a:r>
            <a:r>
              <a:rPr lang="en-US" sz="2400" dirty="0" err="1"/>
              <a:t>js</a:t>
            </a:r>
            <a:r>
              <a:rPr lang="en-US" sz="2400" dirty="0"/>
              <a:t> (using node)</a:t>
            </a:r>
          </a:p>
          <a:p>
            <a:r>
              <a:rPr lang="en-US" sz="2400" dirty="0"/>
              <a:t>.jar (using java</a:t>
            </a:r>
            <a:r>
              <a:rPr lang="en-US" sz="2400" dirty="0" smtClean="0"/>
              <a:t>)</a:t>
            </a:r>
            <a:endParaRPr lang="ru-RU" sz="1800" dirty="0"/>
          </a:p>
        </p:txBody>
      </p:sp>
      <p:sp>
        <p:nvSpPr>
          <p:cNvPr id="2" name="Title 1"/>
          <p:cNvSpPr>
            <a:spLocks noGrp="1"/>
          </p:cNvSpPr>
          <p:nvPr>
            <p:ph type="title" idx="4294967295"/>
          </p:nvPr>
        </p:nvSpPr>
        <p:spPr>
          <a:xfrm>
            <a:off x="536575" y="288925"/>
            <a:ext cx="11655425" cy="900113"/>
          </a:xfrm>
          <a:prstGeom prst="rect">
            <a:avLst/>
          </a:prstGeom>
        </p:spPr>
        <p:txBody>
          <a:bodyPr/>
          <a:lstStyle/>
          <a:p>
            <a:r>
              <a:rPr lang="ru-RU" dirty="0" smtClean="0"/>
              <a:t>Процесс выполнения </a:t>
            </a:r>
            <a:r>
              <a:rPr lang="en-US" dirty="0" err="1" smtClean="0"/>
              <a:t>webjobs</a:t>
            </a:r>
            <a:endParaRPr lang="ru-RU" dirty="0"/>
          </a:p>
        </p:txBody>
      </p:sp>
      <p:sp>
        <p:nvSpPr>
          <p:cNvPr id="5" name="Rectangle 2"/>
          <p:cNvSpPr txBox="1">
            <a:spLocks noChangeArrowheads="1"/>
          </p:cNvSpPr>
          <p:nvPr/>
        </p:nvSpPr>
        <p:spPr bwMode="auto">
          <a:xfrm>
            <a:off x="536575" y="1199293"/>
            <a:ext cx="10498570" cy="16619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eaLnBrk="0" fontAlgn="base" hangingPunct="0">
              <a:lnSpc>
                <a:spcPct val="100000"/>
              </a:lnSpc>
              <a:spcBef>
                <a:spcPct val="0"/>
              </a:spcBef>
              <a:spcAft>
                <a:spcPct val="0"/>
              </a:spcAft>
            </a:pPr>
            <a:r>
              <a:rPr lang="ru-RU" altLang="ru-RU" sz="1800" dirty="0" smtClean="0">
                <a:solidFill>
                  <a:schemeClr val="tx1">
                    <a:lumMod val="50000"/>
                  </a:schemeClr>
                </a:solidFill>
                <a:latin typeface="+mj-lt"/>
              </a:rPr>
              <a:t>Архив распаковывается во временную папку ( путь к ней в переменной </a:t>
            </a:r>
            <a:r>
              <a:rPr lang="en-US" sz="1800" dirty="0">
                <a:latin typeface="+mj-lt"/>
              </a:rPr>
              <a:t>%WEBJOBS_PATH</a:t>
            </a:r>
            <a:r>
              <a:rPr lang="en-US" sz="1800" dirty="0" smtClean="0">
                <a:latin typeface="+mj-lt"/>
              </a:rPr>
              <a:t>%</a:t>
            </a:r>
            <a:r>
              <a:rPr lang="ru-RU" sz="1800" dirty="0" smtClean="0">
                <a:latin typeface="+mj-lt"/>
              </a:rPr>
              <a:t> )</a:t>
            </a:r>
            <a:endParaRPr lang="en-US" altLang="ru-RU" sz="1800" dirty="0" smtClean="0">
              <a:solidFill>
                <a:schemeClr val="tx1">
                  <a:lumMod val="50000"/>
                </a:schemeClr>
              </a:solidFill>
              <a:latin typeface="+mj-lt"/>
            </a:endParaRPr>
          </a:p>
          <a:p>
            <a:pPr eaLnBrk="0" fontAlgn="base" hangingPunct="0">
              <a:lnSpc>
                <a:spcPct val="100000"/>
              </a:lnSpc>
              <a:spcBef>
                <a:spcPct val="0"/>
              </a:spcBef>
              <a:spcAft>
                <a:spcPct val="0"/>
              </a:spcAft>
            </a:pPr>
            <a:r>
              <a:rPr lang="ru-RU" altLang="ru-RU" sz="1800" dirty="0" smtClean="0">
                <a:solidFill>
                  <a:schemeClr val="tx1">
                    <a:lumMod val="50000"/>
                  </a:schemeClr>
                </a:solidFill>
                <a:latin typeface="+mj-lt"/>
              </a:rPr>
              <a:t>Сначала выполняется поиск файла по маске </a:t>
            </a:r>
            <a:r>
              <a:rPr lang="en-US" altLang="ru-RU" sz="1800" dirty="0" smtClean="0">
                <a:solidFill>
                  <a:schemeClr val="tx1">
                    <a:lumMod val="50000"/>
                  </a:schemeClr>
                </a:solidFill>
                <a:latin typeface="+mj-lt"/>
              </a:rPr>
              <a:t>run.{file type extension} (</a:t>
            </a:r>
            <a:r>
              <a:rPr lang="ru-RU" altLang="ru-RU" sz="1800" dirty="0" smtClean="0">
                <a:solidFill>
                  <a:schemeClr val="tx1">
                    <a:lumMod val="50000"/>
                  </a:schemeClr>
                </a:solidFill>
                <a:latin typeface="+mj-lt"/>
              </a:rPr>
              <a:t>например </a:t>
            </a:r>
            <a:r>
              <a:rPr lang="en-US" altLang="ru-RU" sz="1800" dirty="0" smtClean="0">
                <a:solidFill>
                  <a:schemeClr val="tx1">
                    <a:lumMod val="50000"/>
                  </a:schemeClr>
                </a:solidFill>
                <a:latin typeface="+mj-lt"/>
              </a:rPr>
              <a:t>run.cmd </a:t>
            </a:r>
            <a:r>
              <a:rPr lang="ru-RU" altLang="ru-RU" sz="1800" dirty="0" smtClean="0">
                <a:solidFill>
                  <a:schemeClr val="tx1">
                    <a:lumMod val="50000"/>
                  </a:schemeClr>
                </a:solidFill>
                <a:latin typeface="+mj-lt"/>
              </a:rPr>
              <a:t>или </a:t>
            </a:r>
            <a:r>
              <a:rPr lang="en-US" altLang="ru-RU" sz="1800" dirty="0" smtClean="0">
                <a:solidFill>
                  <a:schemeClr val="tx1">
                    <a:lumMod val="50000"/>
                  </a:schemeClr>
                </a:solidFill>
                <a:latin typeface="+mj-lt"/>
              </a:rPr>
              <a:t>run.exe )</a:t>
            </a:r>
            <a:endParaRPr lang="ru-RU" altLang="ru-RU" sz="1800" dirty="0" smtClean="0">
              <a:solidFill>
                <a:schemeClr val="tx1">
                  <a:lumMod val="50000"/>
                </a:schemeClr>
              </a:solidFill>
              <a:latin typeface="+mj-lt"/>
            </a:endParaRPr>
          </a:p>
          <a:p>
            <a:pPr eaLnBrk="0" fontAlgn="base" hangingPunct="0">
              <a:lnSpc>
                <a:spcPct val="100000"/>
              </a:lnSpc>
              <a:spcBef>
                <a:spcPct val="0"/>
              </a:spcBef>
              <a:spcAft>
                <a:spcPct val="0"/>
              </a:spcAft>
            </a:pPr>
            <a:r>
              <a:rPr lang="ru-RU" altLang="ru-RU" sz="1800" dirty="0" smtClean="0">
                <a:solidFill>
                  <a:schemeClr val="tx1">
                    <a:lumMod val="50000"/>
                  </a:schemeClr>
                </a:solidFill>
                <a:latin typeface="+mj-lt"/>
              </a:rPr>
              <a:t>Если ничего не найдено для всех типов файлов, то тогда выполняется поиск первого файла с поддерживаемым расширений в указанном порядке</a:t>
            </a:r>
            <a:r>
              <a:rPr lang="en-US" altLang="ru-RU" sz="1800" dirty="0" smtClean="0">
                <a:solidFill>
                  <a:schemeClr val="tx1">
                    <a:lumMod val="50000"/>
                  </a:schemeClr>
                </a:solidFill>
                <a:latin typeface="+mj-lt"/>
              </a:rPr>
              <a:t>: </a:t>
            </a:r>
            <a:r>
              <a:rPr lang="ru-RU" altLang="ru-RU" sz="1800" dirty="0" smtClean="0">
                <a:solidFill>
                  <a:schemeClr val="tx1">
                    <a:lumMod val="50000"/>
                  </a:schemeClr>
                </a:solidFill>
                <a:latin typeface="+mj-lt"/>
                <a:cs typeface="Consolas" panose="020B0609020204030204" pitchFamily="49" charset="0"/>
              </a:rPr>
              <a:t>.cmd</a:t>
            </a:r>
            <a:r>
              <a:rPr lang="ru-RU" altLang="ru-RU" sz="1800" dirty="0" smtClean="0">
                <a:solidFill>
                  <a:schemeClr val="tx1">
                    <a:lumMod val="50000"/>
                  </a:schemeClr>
                </a:solidFill>
                <a:latin typeface="+mj-lt"/>
              </a:rPr>
              <a:t>, </a:t>
            </a:r>
            <a:r>
              <a:rPr lang="ru-RU" altLang="ru-RU" sz="1800" dirty="0" smtClean="0">
                <a:solidFill>
                  <a:schemeClr val="tx1">
                    <a:lumMod val="50000"/>
                  </a:schemeClr>
                </a:solidFill>
                <a:latin typeface="+mj-lt"/>
                <a:cs typeface="Consolas" panose="020B0609020204030204" pitchFamily="49" charset="0"/>
              </a:rPr>
              <a:t>.bat</a:t>
            </a:r>
            <a:r>
              <a:rPr lang="ru-RU" altLang="ru-RU" sz="1800" dirty="0" smtClean="0">
                <a:solidFill>
                  <a:schemeClr val="tx1">
                    <a:lumMod val="50000"/>
                  </a:schemeClr>
                </a:solidFill>
                <a:latin typeface="+mj-lt"/>
              </a:rPr>
              <a:t>, </a:t>
            </a:r>
            <a:r>
              <a:rPr lang="ru-RU" altLang="ru-RU" sz="1800" dirty="0" smtClean="0">
                <a:solidFill>
                  <a:schemeClr val="tx1">
                    <a:lumMod val="50000"/>
                  </a:schemeClr>
                </a:solidFill>
                <a:latin typeface="+mj-lt"/>
                <a:cs typeface="Consolas" panose="020B0609020204030204" pitchFamily="49" charset="0"/>
              </a:rPr>
              <a:t>.exe</a:t>
            </a:r>
            <a:r>
              <a:rPr lang="ru-RU" altLang="ru-RU" sz="1800" dirty="0" smtClean="0">
                <a:solidFill>
                  <a:schemeClr val="tx1">
                    <a:lumMod val="50000"/>
                  </a:schemeClr>
                </a:solidFill>
                <a:latin typeface="+mj-lt"/>
              </a:rPr>
              <a:t>, </a:t>
            </a:r>
            <a:r>
              <a:rPr lang="ru-RU" altLang="ru-RU" sz="1800" dirty="0" smtClean="0">
                <a:solidFill>
                  <a:schemeClr val="tx1">
                    <a:lumMod val="50000"/>
                  </a:schemeClr>
                </a:solidFill>
                <a:latin typeface="+mj-lt"/>
                <a:cs typeface="Consolas" panose="020B0609020204030204" pitchFamily="49" charset="0"/>
              </a:rPr>
              <a:t>.ps1</a:t>
            </a:r>
            <a:r>
              <a:rPr lang="ru-RU" altLang="ru-RU" sz="1800" dirty="0" smtClean="0">
                <a:solidFill>
                  <a:schemeClr val="tx1">
                    <a:lumMod val="50000"/>
                  </a:schemeClr>
                </a:solidFill>
                <a:latin typeface="+mj-lt"/>
              </a:rPr>
              <a:t>, </a:t>
            </a:r>
            <a:r>
              <a:rPr lang="ru-RU" altLang="ru-RU" sz="1800" dirty="0" smtClean="0">
                <a:solidFill>
                  <a:schemeClr val="tx1">
                    <a:lumMod val="50000"/>
                  </a:schemeClr>
                </a:solidFill>
                <a:latin typeface="+mj-lt"/>
                <a:cs typeface="Consolas" panose="020B0609020204030204" pitchFamily="49" charset="0"/>
              </a:rPr>
              <a:t>.sh</a:t>
            </a:r>
            <a:r>
              <a:rPr lang="ru-RU" altLang="ru-RU" sz="1800" dirty="0" smtClean="0">
                <a:solidFill>
                  <a:schemeClr val="tx1">
                    <a:lumMod val="50000"/>
                  </a:schemeClr>
                </a:solidFill>
                <a:latin typeface="+mj-lt"/>
              </a:rPr>
              <a:t>, </a:t>
            </a:r>
            <a:r>
              <a:rPr lang="ru-RU" altLang="ru-RU" sz="1800" dirty="0" smtClean="0">
                <a:solidFill>
                  <a:schemeClr val="tx1">
                    <a:lumMod val="50000"/>
                  </a:schemeClr>
                </a:solidFill>
                <a:latin typeface="+mj-lt"/>
                <a:cs typeface="Consolas" panose="020B0609020204030204" pitchFamily="49" charset="0"/>
              </a:rPr>
              <a:t>.php</a:t>
            </a:r>
            <a:r>
              <a:rPr lang="ru-RU" altLang="ru-RU" sz="1800" dirty="0" smtClean="0">
                <a:solidFill>
                  <a:schemeClr val="tx1">
                    <a:lumMod val="50000"/>
                  </a:schemeClr>
                </a:solidFill>
                <a:latin typeface="+mj-lt"/>
              </a:rPr>
              <a:t>, </a:t>
            </a:r>
            <a:r>
              <a:rPr lang="ru-RU" altLang="ru-RU" sz="1800" dirty="0" smtClean="0">
                <a:solidFill>
                  <a:schemeClr val="tx1">
                    <a:lumMod val="50000"/>
                  </a:schemeClr>
                </a:solidFill>
                <a:latin typeface="+mj-lt"/>
                <a:cs typeface="Consolas" panose="020B0609020204030204" pitchFamily="49" charset="0"/>
              </a:rPr>
              <a:t>.py</a:t>
            </a:r>
            <a:r>
              <a:rPr lang="ru-RU" altLang="ru-RU" sz="1800" dirty="0" smtClean="0">
                <a:solidFill>
                  <a:schemeClr val="tx1">
                    <a:lumMod val="50000"/>
                  </a:schemeClr>
                </a:solidFill>
                <a:latin typeface="+mj-lt"/>
              </a:rPr>
              <a:t>, </a:t>
            </a:r>
            <a:r>
              <a:rPr lang="ru-RU" altLang="ru-RU" sz="1800" dirty="0" smtClean="0">
                <a:solidFill>
                  <a:schemeClr val="tx1">
                    <a:lumMod val="50000"/>
                  </a:schemeClr>
                </a:solidFill>
                <a:latin typeface="+mj-lt"/>
                <a:cs typeface="Consolas" panose="020B0609020204030204" pitchFamily="49" charset="0"/>
              </a:rPr>
              <a:t>.js</a:t>
            </a:r>
            <a:endParaRPr lang="en-US" altLang="ru-RU" sz="1800" dirty="0" smtClean="0">
              <a:solidFill>
                <a:schemeClr val="tx1">
                  <a:lumMod val="50000"/>
                </a:schemeClr>
              </a:solidFill>
              <a:latin typeface="+mj-lt"/>
            </a:endParaRPr>
          </a:p>
          <a:p>
            <a:pPr eaLnBrk="0" fontAlgn="base" hangingPunct="0">
              <a:lnSpc>
                <a:spcPct val="100000"/>
              </a:lnSpc>
              <a:spcBef>
                <a:spcPct val="0"/>
              </a:spcBef>
              <a:spcAft>
                <a:spcPct val="0"/>
              </a:spcAft>
            </a:pPr>
            <a:r>
              <a:rPr lang="ru-RU" altLang="ru-RU" sz="1800" dirty="0" smtClean="0">
                <a:solidFill>
                  <a:schemeClr val="tx1">
                    <a:lumMod val="50000"/>
                  </a:schemeClr>
                </a:solidFill>
                <a:latin typeface="+mj-lt"/>
              </a:rPr>
              <a:t>Поиск выполняется только в корневой папке</a:t>
            </a:r>
          </a:p>
          <a:p>
            <a:pPr eaLnBrk="0" fontAlgn="base" hangingPunct="0">
              <a:lnSpc>
                <a:spcPct val="100000"/>
              </a:lnSpc>
              <a:spcBef>
                <a:spcPct val="0"/>
              </a:spcBef>
              <a:spcAft>
                <a:spcPct val="0"/>
              </a:spcAft>
            </a:pPr>
            <a:r>
              <a:rPr lang="ru-RU" altLang="ru-RU" sz="1800" dirty="0" smtClean="0">
                <a:solidFill>
                  <a:schemeClr val="tx1">
                    <a:lumMod val="50000"/>
                  </a:schemeClr>
                </a:solidFill>
                <a:latin typeface="+mj-lt"/>
              </a:rPr>
              <a:t>Реомендованное имя файла для запуска задач = </a:t>
            </a:r>
            <a:r>
              <a:rPr lang="en-US" altLang="ru-RU" sz="1800" dirty="0" smtClean="0">
                <a:solidFill>
                  <a:schemeClr val="tx1">
                    <a:lumMod val="50000"/>
                  </a:schemeClr>
                </a:solidFill>
                <a:latin typeface="+mj-lt"/>
              </a:rPr>
              <a:t>run.cmd</a:t>
            </a:r>
            <a:endParaRPr lang="ru-RU" altLang="ru-RU" sz="1800" dirty="0" smtClean="0">
              <a:solidFill>
                <a:schemeClr val="tx1">
                  <a:lumMod val="50000"/>
                </a:schemeClr>
              </a:solidFill>
              <a:latin typeface="+mj-lt"/>
            </a:endParaRPr>
          </a:p>
        </p:txBody>
      </p:sp>
    </p:spTree>
    <p:extLst>
      <p:ext uri="{BB962C8B-B14F-4D97-AF65-F5344CB8AC3E}">
        <p14:creationId xmlns:p14="http://schemas.microsoft.com/office/powerpoint/2010/main" val="234939950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575" y="288925"/>
            <a:ext cx="11655425" cy="900113"/>
          </a:xfrm>
          <a:prstGeom prst="rect">
            <a:avLst/>
          </a:prstGeom>
        </p:spPr>
        <p:txBody>
          <a:bodyPr/>
          <a:lstStyle/>
          <a:p>
            <a:r>
              <a:rPr lang="ru-RU" dirty="0" smtClean="0"/>
              <a:t>Размещение внутри сайта</a:t>
            </a:r>
            <a:endParaRPr lang="ru-RU" dirty="0"/>
          </a:p>
        </p:txBody>
      </p:sp>
      <p:sp>
        <p:nvSpPr>
          <p:cNvPr id="3" name="Content Placeholder 2"/>
          <p:cNvSpPr>
            <a:spLocks noGrp="1"/>
          </p:cNvSpPr>
          <p:nvPr>
            <p:ph idx="4294967295"/>
          </p:nvPr>
        </p:nvSpPr>
        <p:spPr>
          <a:xfrm>
            <a:off x="536575" y="1224684"/>
            <a:ext cx="11412970" cy="5061815"/>
          </a:xfrm>
          <a:prstGeom prst="rect">
            <a:avLst/>
          </a:prstGeom>
        </p:spPr>
        <p:txBody>
          <a:bodyPr/>
          <a:lstStyle/>
          <a:p>
            <a:r>
              <a:rPr lang="ru-RU" sz="2000" dirty="0" smtClean="0"/>
              <a:t>Файловая система</a:t>
            </a:r>
            <a:r>
              <a:rPr lang="en-US" sz="2000" dirty="0" smtClean="0"/>
              <a:t>: site\</a:t>
            </a:r>
            <a:r>
              <a:rPr lang="en-US" sz="2000" dirty="0" err="1" smtClean="0"/>
              <a:t>wwwroot</a:t>
            </a:r>
            <a:r>
              <a:rPr lang="en-US" sz="2000" dirty="0" smtClean="0"/>
              <a:t>\</a:t>
            </a:r>
            <a:r>
              <a:rPr lang="en-US" sz="2000" dirty="0" err="1" smtClean="0"/>
              <a:t>App_Data</a:t>
            </a:r>
            <a:r>
              <a:rPr lang="en-US" sz="2000" dirty="0" smtClean="0"/>
              <a:t>\jobs</a:t>
            </a:r>
            <a:r>
              <a:rPr lang="en-US" sz="2000" dirty="0"/>
              <a:t>\{job type}\{job name}</a:t>
            </a:r>
          </a:p>
          <a:p>
            <a:r>
              <a:rPr lang="ru-RU" sz="2000" dirty="0" smtClean="0"/>
              <a:t>Снаружи</a:t>
            </a:r>
            <a:r>
              <a:rPr lang="en-US" sz="2000" dirty="0"/>
              <a:t> </a:t>
            </a:r>
            <a:r>
              <a:rPr lang="en-US" sz="2000" dirty="0" smtClean="0"/>
              <a:t>(</a:t>
            </a:r>
            <a:r>
              <a:rPr lang="ru-RU" sz="2000" dirty="0" smtClean="0"/>
              <a:t>через </a:t>
            </a:r>
            <a:r>
              <a:rPr lang="en-US" sz="2000" dirty="0" smtClean="0"/>
              <a:t>POST) </a:t>
            </a:r>
            <a:r>
              <a:rPr lang="en-US" sz="2000" b="1" u="sng" dirty="0" smtClean="0"/>
              <a:t>https</a:t>
            </a:r>
            <a:r>
              <a:rPr lang="en-US" sz="2000" b="1" u="sng" dirty="0"/>
              <a:t>://{sitename}.scm.azurewebsites.net/api/webjobs/triggered/{webjobname}/</a:t>
            </a:r>
            <a:r>
              <a:rPr lang="en-US" sz="2000" b="1" u="sng" dirty="0" smtClean="0"/>
              <a:t>run</a:t>
            </a:r>
          </a:p>
          <a:p>
            <a:r>
              <a:rPr lang="ru-RU" sz="2000" dirty="0" smtClean="0"/>
              <a:t>Веб интерфейс</a:t>
            </a:r>
            <a:r>
              <a:rPr lang="en-US" sz="2000" dirty="0" smtClean="0"/>
              <a:t>: </a:t>
            </a:r>
            <a:r>
              <a:rPr lang="ru-RU" sz="2000" dirty="0" smtClean="0"/>
              <a:t> </a:t>
            </a:r>
            <a:r>
              <a:rPr lang="en-US" sz="2000" b="1" u="sng" dirty="0" smtClean="0"/>
              <a:t>https</a:t>
            </a:r>
            <a:r>
              <a:rPr lang="en-US" sz="2000" b="1" u="sng" dirty="0"/>
              <a:t>://{sitename}.</a:t>
            </a:r>
            <a:r>
              <a:rPr lang="en-US" sz="2000" b="1" u="sng" dirty="0" smtClean="0"/>
              <a:t>scm.azurewebsites.net/azurejobs/#/jobs</a:t>
            </a:r>
            <a:endParaRPr lang="ru-RU" sz="2000" b="1" u="sng" dirty="0" smtClean="0"/>
          </a:p>
          <a:p>
            <a:r>
              <a:rPr lang="ru-RU" sz="2000" dirty="0"/>
              <a:t>Данные веб-сайта доступны</a:t>
            </a:r>
            <a:r>
              <a:rPr lang="en-US" sz="2000" dirty="0"/>
              <a:t>:</a:t>
            </a:r>
            <a:r>
              <a:rPr lang="ru-RU" sz="2000" dirty="0"/>
              <a:t> </a:t>
            </a:r>
            <a:r>
              <a:rPr lang="en-US" sz="2000" dirty="0"/>
              <a:t>d:\home ( </a:t>
            </a:r>
            <a:r>
              <a:rPr lang="ru-RU" sz="2000" dirty="0" smtClean="0"/>
              <a:t>%</a:t>
            </a:r>
            <a:r>
              <a:rPr lang="en-US" sz="2000" dirty="0" smtClean="0"/>
              <a:t>HOME</a:t>
            </a:r>
            <a:r>
              <a:rPr lang="ru-RU" sz="2000" dirty="0" smtClean="0"/>
              <a:t>%</a:t>
            </a:r>
            <a:r>
              <a:rPr lang="en-US" sz="2000" dirty="0" smtClean="0"/>
              <a:t> </a:t>
            </a:r>
            <a:r>
              <a:rPr lang="en-US" sz="2000" dirty="0"/>
              <a:t>)</a:t>
            </a:r>
          </a:p>
          <a:p>
            <a:r>
              <a:rPr lang="ru-RU" sz="2000" dirty="0"/>
              <a:t>При запуске </a:t>
            </a:r>
            <a:r>
              <a:rPr lang="en-US" sz="2000" dirty="0" err="1"/>
              <a:t>WebJobs</a:t>
            </a:r>
            <a:r>
              <a:rPr lang="en-US" sz="2000" dirty="0"/>
              <a:t> </a:t>
            </a:r>
            <a:r>
              <a:rPr lang="ru-RU" sz="2000" dirty="0"/>
              <a:t>копируется во временную папку ( см </a:t>
            </a:r>
            <a:r>
              <a:rPr lang="ru-RU" sz="2000" dirty="0" smtClean="0"/>
              <a:t>%</a:t>
            </a:r>
            <a:r>
              <a:rPr lang="en-US" sz="2000" dirty="0" smtClean="0"/>
              <a:t>WEBJOBS_PATH</a:t>
            </a:r>
            <a:r>
              <a:rPr lang="ru-RU" sz="2000" dirty="0" smtClean="0"/>
              <a:t>% </a:t>
            </a:r>
            <a:r>
              <a:rPr lang="ru-RU" sz="2000" dirty="0"/>
              <a:t>)</a:t>
            </a:r>
            <a:r>
              <a:rPr lang="en-US" sz="2000" dirty="0"/>
              <a:t> </a:t>
            </a:r>
            <a:r>
              <a:rPr lang="ru-RU" sz="2000" dirty="0"/>
              <a:t>и там запускается</a:t>
            </a:r>
          </a:p>
          <a:p>
            <a:r>
              <a:rPr lang="ru-RU" sz="2000" dirty="0"/>
              <a:t>Для хранения и обработки данных </a:t>
            </a:r>
            <a:r>
              <a:rPr lang="ru-RU" sz="2000" dirty="0" smtClean="0"/>
              <a:t>рекомендуется использовать папку</a:t>
            </a:r>
            <a:r>
              <a:rPr lang="en-US" sz="2000" dirty="0" smtClean="0"/>
              <a:t>:</a:t>
            </a:r>
            <a:endParaRPr lang="ru-RU" sz="2000" dirty="0"/>
          </a:p>
          <a:p>
            <a:pPr marL="0" indent="0">
              <a:buNone/>
            </a:pPr>
            <a:r>
              <a:rPr lang="en-US" sz="2000" dirty="0" smtClean="0"/>
              <a:t>	%</a:t>
            </a:r>
            <a:r>
              <a:rPr lang="en-US" sz="2000" dirty="0"/>
              <a:t>WEBROOT_PATH%\</a:t>
            </a:r>
            <a:r>
              <a:rPr lang="en-US" sz="2000" dirty="0" err="1"/>
              <a:t>App_Data</a:t>
            </a:r>
            <a:r>
              <a:rPr lang="en-US" sz="2000" dirty="0"/>
              <a:t>\jobs\%WEBJOBS_TYPE%\%WEBJOBS_NAME%</a:t>
            </a:r>
            <a:r>
              <a:rPr lang="ru-RU" sz="2000" dirty="0"/>
              <a:t> </a:t>
            </a:r>
            <a:endParaRPr lang="en-US" sz="2000" dirty="0"/>
          </a:p>
          <a:p>
            <a:pPr marL="0" indent="0">
              <a:buNone/>
            </a:pPr>
            <a:r>
              <a:rPr lang="ru-RU" sz="2000" dirty="0" smtClean="0"/>
              <a:t>или</a:t>
            </a:r>
            <a:r>
              <a:rPr lang="en-US" sz="2000" dirty="0" smtClean="0"/>
              <a:t>       %</a:t>
            </a:r>
            <a:r>
              <a:rPr lang="en-US" sz="2000" dirty="0"/>
              <a:t>WEBJOBS_DATA_PATH</a:t>
            </a:r>
            <a:r>
              <a:rPr lang="en-US" sz="2000" dirty="0" smtClean="0"/>
              <a:t>%</a:t>
            </a:r>
          </a:p>
          <a:p>
            <a:r>
              <a:rPr lang="ru-RU" sz="2000" dirty="0" smtClean="0"/>
              <a:t>Настройки конфигурирования</a:t>
            </a:r>
            <a:r>
              <a:rPr lang="en-US" sz="2000" dirty="0" smtClean="0"/>
              <a:t> (GET)</a:t>
            </a:r>
            <a:r>
              <a:rPr lang="ru-RU" sz="2000" dirty="0" smtClean="0"/>
              <a:t> </a:t>
            </a:r>
            <a:r>
              <a:rPr lang="en-US" sz="2000" dirty="0"/>
              <a:t>: </a:t>
            </a:r>
            <a:r>
              <a:rPr lang="en-US" sz="2000" b="1" u="sng" dirty="0"/>
              <a:t>https</a:t>
            </a:r>
            <a:r>
              <a:rPr lang="en-US" sz="2000" b="1" u="sng" dirty="0" smtClean="0"/>
              <a:t>://{sitename}.scm.azurewebsites.net/api/webjobs</a:t>
            </a:r>
            <a:endParaRPr lang="ru-RU" sz="2000" b="1" u="sng" dirty="0"/>
          </a:p>
          <a:p>
            <a:endParaRPr lang="en-US" sz="2000" dirty="0"/>
          </a:p>
          <a:p>
            <a:pPr marL="0" indent="0">
              <a:buNone/>
            </a:pPr>
            <a:endParaRPr lang="en-US" sz="2000" dirty="0"/>
          </a:p>
        </p:txBody>
      </p:sp>
    </p:spTree>
    <p:extLst>
      <p:ext uri="{BB962C8B-B14F-4D97-AF65-F5344CB8AC3E}">
        <p14:creationId xmlns:p14="http://schemas.microsoft.com/office/powerpoint/2010/main" val="419727487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575" y="288925"/>
            <a:ext cx="11655425" cy="900113"/>
          </a:xfrm>
          <a:prstGeom prst="rect">
            <a:avLst/>
          </a:prstGeom>
        </p:spPr>
        <p:txBody>
          <a:bodyPr/>
          <a:lstStyle/>
          <a:p>
            <a:r>
              <a:rPr lang="ru-RU" dirty="0" smtClean="0"/>
              <a:t>Настройки</a:t>
            </a:r>
            <a:endParaRPr lang="ru-RU" dirty="0"/>
          </a:p>
        </p:txBody>
      </p:sp>
      <p:sp>
        <p:nvSpPr>
          <p:cNvPr id="3" name="Content Placeholder 2"/>
          <p:cNvSpPr>
            <a:spLocks noGrp="1"/>
          </p:cNvSpPr>
          <p:nvPr>
            <p:ph idx="4294967295"/>
          </p:nvPr>
        </p:nvSpPr>
        <p:spPr>
          <a:xfrm>
            <a:off x="536575" y="1224684"/>
            <a:ext cx="11412970" cy="5061815"/>
          </a:xfrm>
          <a:prstGeom prst="rect">
            <a:avLst/>
          </a:prstGeom>
        </p:spPr>
        <p:txBody>
          <a:bodyPr/>
          <a:lstStyle/>
          <a:p>
            <a:r>
              <a:rPr lang="en-US" sz="2000" b="1" dirty="0">
                <a:latin typeface="+mj-lt"/>
              </a:rPr>
              <a:t>WEBJOBS_RESTART_TIME</a:t>
            </a:r>
            <a:r>
              <a:rPr lang="en-US" sz="2000" dirty="0">
                <a:latin typeface="+mj-lt"/>
              </a:rPr>
              <a:t> </a:t>
            </a:r>
            <a:r>
              <a:rPr lang="ru-RU" sz="2000" dirty="0" smtClean="0">
                <a:latin typeface="+mj-lt"/>
              </a:rPr>
              <a:t>– время рестарта в секундах, после завершения предыдещего запуска ( независимо от статуса завершения ) – только для </a:t>
            </a:r>
            <a:r>
              <a:rPr lang="en-US" sz="2000" dirty="0" smtClean="0">
                <a:latin typeface="+mj-lt"/>
              </a:rPr>
              <a:t>continuous jobs</a:t>
            </a:r>
            <a:endParaRPr lang="ru-RU" sz="2000" dirty="0" smtClean="0">
              <a:latin typeface="+mj-lt"/>
            </a:endParaRPr>
          </a:p>
          <a:p>
            <a:r>
              <a:rPr lang="en-US" sz="2000" b="1" dirty="0" smtClean="0">
                <a:latin typeface="+mj-lt"/>
              </a:rPr>
              <a:t>WEBJOBS_IDLE_TIMEOUT </a:t>
            </a:r>
            <a:r>
              <a:rPr lang="ru-RU" sz="2000" dirty="0" smtClean="0">
                <a:latin typeface="+mj-lt"/>
              </a:rPr>
              <a:t>– время бездействия в секундах, при превышении этого времении задача будет принудительно остановлена. Бездействие определяется по отсутствию нагрузки на </a:t>
            </a:r>
            <a:r>
              <a:rPr lang="en-US" sz="2000" dirty="0" smtClean="0">
                <a:latin typeface="+mj-lt"/>
              </a:rPr>
              <a:t>CPU </a:t>
            </a:r>
            <a:r>
              <a:rPr lang="ru-RU" sz="2000" dirty="0" smtClean="0">
                <a:latin typeface="+mj-lt"/>
              </a:rPr>
              <a:t>и операциям ввода-вывода на консоль</a:t>
            </a:r>
            <a:r>
              <a:rPr lang="en-US" sz="2000" dirty="0" smtClean="0">
                <a:latin typeface="+mj-lt"/>
              </a:rPr>
              <a:t>/</a:t>
            </a:r>
            <a:r>
              <a:rPr lang="ru-RU" sz="2000" dirty="0" smtClean="0">
                <a:latin typeface="+mj-lt"/>
              </a:rPr>
              <a:t>логи. Только для </a:t>
            </a:r>
            <a:r>
              <a:rPr lang="en-US" sz="2000" dirty="0" smtClean="0">
                <a:latin typeface="+mj-lt"/>
              </a:rPr>
              <a:t>triggered jobs</a:t>
            </a:r>
          </a:p>
          <a:p>
            <a:r>
              <a:rPr lang="en-US" sz="2000" b="1" dirty="0" smtClean="0">
                <a:latin typeface="+mj-lt"/>
              </a:rPr>
              <a:t>WEBJOBS_HISTORY_SIZE – </a:t>
            </a:r>
            <a:r>
              <a:rPr lang="ru-RU" sz="2000" dirty="0" smtClean="0">
                <a:latin typeface="+mj-lt"/>
              </a:rPr>
              <a:t>размер истории запусков, только для </a:t>
            </a:r>
            <a:r>
              <a:rPr lang="en-US" sz="2000" dirty="0" smtClean="0">
                <a:latin typeface="+mj-lt"/>
              </a:rPr>
              <a:t>triggered jobs</a:t>
            </a:r>
            <a:endParaRPr lang="en-US" sz="2000" b="1" dirty="0" smtClean="0">
              <a:latin typeface="+mj-lt"/>
            </a:endParaRPr>
          </a:p>
          <a:p>
            <a:r>
              <a:rPr lang="en-US" sz="2000" b="1" dirty="0" smtClean="0">
                <a:latin typeface="+mj-lt"/>
              </a:rPr>
              <a:t>WEBJOBS_STOPPED – </a:t>
            </a:r>
            <a:r>
              <a:rPr lang="ru-RU" sz="2000" dirty="0" smtClean="0">
                <a:latin typeface="+mj-lt"/>
              </a:rPr>
              <a:t>если установлено в 1, то запуск задач запрещен и все задачи (включая уже запущенные ) принудительно останавливаются.</a:t>
            </a:r>
          </a:p>
          <a:p>
            <a:endParaRPr lang="en-US" sz="2000" dirty="0">
              <a:latin typeface="+mj-lt"/>
            </a:endParaRPr>
          </a:p>
          <a:p>
            <a:pPr marL="0" indent="0">
              <a:buNone/>
            </a:pPr>
            <a:endParaRPr lang="en-US" sz="2000" dirty="0">
              <a:latin typeface="+mj-lt"/>
            </a:endParaRPr>
          </a:p>
        </p:txBody>
      </p:sp>
    </p:spTree>
    <p:extLst>
      <p:ext uri="{BB962C8B-B14F-4D97-AF65-F5344CB8AC3E}">
        <p14:creationId xmlns:p14="http://schemas.microsoft.com/office/powerpoint/2010/main" val="1529583407"/>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575" y="288925"/>
            <a:ext cx="11655425" cy="900113"/>
          </a:xfrm>
          <a:prstGeom prst="rect">
            <a:avLst/>
          </a:prstGeom>
        </p:spPr>
        <p:txBody>
          <a:bodyPr/>
          <a:lstStyle/>
          <a:p>
            <a:r>
              <a:rPr lang="ru-RU" dirty="0" smtClean="0"/>
              <a:t>Управление остановкой задач</a:t>
            </a:r>
            <a:endParaRPr lang="ru-RU" dirty="0"/>
          </a:p>
        </p:txBody>
      </p:sp>
      <p:sp>
        <p:nvSpPr>
          <p:cNvPr id="3" name="Content Placeholder 2"/>
          <p:cNvSpPr>
            <a:spLocks noGrp="1"/>
          </p:cNvSpPr>
          <p:nvPr>
            <p:ph idx="4294967295"/>
          </p:nvPr>
        </p:nvSpPr>
        <p:spPr>
          <a:xfrm>
            <a:off x="536575" y="1224684"/>
            <a:ext cx="11412970" cy="5061815"/>
          </a:xfrm>
          <a:prstGeom prst="rect">
            <a:avLst/>
          </a:prstGeom>
        </p:spPr>
        <p:txBody>
          <a:bodyPr/>
          <a:lstStyle/>
          <a:p>
            <a:pPr marL="0" indent="0">
              <a:buNone/>
            </a:pPr>
            <a:r>
              <a:rPr lang="ru-RU" sz="2000" dirty="0" smtClean="0">
                <a:latin typeface="+mj-lt"/>
              </a:rPr>
              <a:t>В ряде случаев требуется принудительная остановка задачи и в этом случае существуем механизм сообщения задаче о такой остановке перед тем как она будет удалена.</a:t>
            </a:r>
          </a:p>
          <a:p>
            <a:pPr marL="0" indent="0">
              <a:buNone/>
            </a:pPr>
            <a:r>
              <a:rPr lang="ru-RU" sz="2000" dirty="0" smtClean="0">
                <a:latin typeface="+mj-lt"/>
              </a:rPr>
              <a:t>Это может происходить в случаях</a:t>
            </a:r>
            <a:r>
              <a:rPr lang="en-US" sz="2000" dirty="0" smtClean="0">
                <a:latin typeface="+mj-lt"/>
              </a:rPr>
              <a:t>:</a:t>
            </a:r>
          </a:p>
          <a:p>
            <a:r>
              <a:rPr lang="ru-RU" sz="2000" dirty="0" smtClean="0">
                <a:latin typeface="+mj-lt"/>
              </a:rPr>
              <a:t>Рестарта</a:t>
            </a:r>
            <a:r>
              <a:rPr lang="en-US" sz="2000" dirty="0" smtClean="0">
                <a:latin typeface="+mj-lt"/>
              </a:rPr>
              <a:t>/</a:t>
            </a:r>
            <a:r>
              <a:rPr lang="ru-RU" sz="2000" dirty="0" smtClean="0">
                <a:latin typeface="+mj-lt"/>
              </a:rPr>
              <a:t>остановки</a:t>
            </a:r>
            <a:r>
              <a:rPr lang="en-US" sz="2000" dirty="0" smtClean="0">
                <a:latin typeface="+mj-lt"/>
              </a:rPr>
              <a:t>/</a:t>
            </a:r>
            <a:r>
              <a:rPr lang="ru-RU" sz="2000" dirty="0" smtClean="0">
                <a:latin typeface="+mj-lt"/>
              </a:rPr>
              <a:t>изменение настроек веб-сайта</a:t>
            </a:r>
            <a:r>
              <a:rPr lang="en-US" sz="2000" dirty="0" smtClean="0">
                <a:latin typeface="+mj-lt"/>
              </a:rPr>
              <a:t>/</a:t>
            </a:r>
            <a:r>
              <a:rPr lang="en-US" sz="2000" dirty="0" err="1" smtClean="0">
                <a:latin typeface="+mj-lt"/>
              </a:rPr>
              <a:t>web.config</a:t>
            </a:r>
            <a:endParaRPr lang="ru-RU" sz="2000" dirty="0" smtClean="0">
              <a:latin typeface="+mj-lt"/>
            </a:endParaRPr>
          </a:p>
          <a:p>
            <a:r>
              <a:rPr lang="ru-RU" sz="2000" dirty="0" smtClean="0">
                <a:latin typeface="+mj-lt"/>
              </a:rPr>
              <a:t>Остановки задачи ( через </a:t>
            </a:r>
            <a:r>
              <a:rPr lang="en-US" sz="2000" dirty="0" smtClean="0">
                <a:latin typeface="+mj-lt"/>
              </a:rPr>
              <a:t>API )</a:t>
            </a:r>
          </a:p>
          <a:p>
            <a:r>
              <a:rPr lang="ru-RU" sz="2000" dirty="0" smtClean="0">
                <a:latin typeface="+mj-lt"/>
              </a:rPr>
              <a:t>Обновления файлов </a:t>
            </a:r>
            <a:r>
              <a:rPr lang="en-US" sz="2000" dirty="0" err="1" smtClean="0">
                <a:latin typeface="+mj-lt"/>
              </a:rPr>
              <a:t>webjob</a:t>
            </a:r>
            <a:endParaRPr lang="en-US" sz="2000" dirty="0" smtClean="0">
              <a:latin typeface="+mj-lt"/>
            </a:endParaRPr>
          </a:p>
          <a:p>
            <a:pPr marL="0" indent="0">
              <a:buNone/>
            </a:pPr>
            <a:r>
              <a:rPr lang="ru-RU" sz="2000" dirty="0" smtClean="0">
                <a:latin typeface="+mj-lt"/>
              </a:rPr>
              <a:t>Как это работает</a:t>
            </a:r>
            <a:r>
              <a:rPr lang="en-US" sz="2000" dirty="0" smtClean="0">
                <a:latin typeface="+mj-lt"/>
              </a:rPr>
              <a:t>:</a:t>
            </a:r>
          </a:p>
          <a:p>
            <a:r>
              <a:rPr lang="en-US" sz="2000" dirty="0" smtClean="0">
                <a:latin typeface="+mj-lt"/>
              </a:rPr>
              <a:t>Continuous : </a:t>
            </a:r>
            <a:r>
              <a:rPr lang="ru-RU" sz="2000" dirty="0" smtClean="0">
                <a:latin typeface="+mj-lt"/>
              </a:rPr>
              <a:t>если требуется принудительная остановка то создается файл </a:t>
            </a:r>
            <a:r>
              <a:rPr lang="en-US" sz="2000" dirty="0">
                <a:latin typeface="+mj-lt"/>
              </a:rPr>
              <a:t>%WEBJOBS_SHUTDOWN_FILE</a:t>
            </a:r>
            <a:r>
              <a:rPr lang="en-US" sz="2000" dirty="0" smtClean="0">
                <a:latin typeface="+mj-lt"/>
              </a:rPr>
              <a:t>%</a:t>
            </a:r>
            <a:r>
              <a:rPr lang="ru-RU" sz="2000" dirty="0" smtClean="0">
                <a:latin typeface="+mj-lt"/>
              </a:rPr>
              <a:t> и задаче дается 5 секунд на остановку. Соответственно внутри задачи должен быть мониторинг наличия этого файла как флага принудительной остановки через 5 секунд</a:t>
            </a:r>
            <a:endParaRPr lang="en-US" sz="2000" dirty="0" smtClean="0">
              <a:latin typeface="+mj-lt"/>
            </a:endParaRPr>
          </a:p>
          <a:p>
            <a:r>
              <a:rPr lang="en-US" sz="2000" dirty="0" smtClean="0">
                <a:latin typeface="+mj-lt"/>
              </a:rPr>
              <a:t>Triggered: </a:t>
            </a:r>
            <a:r>
              <a:rPr lang="ru-RU" sz="2000" dirty="0" smtClean="0">
                <a:latin typeface="+mj-lt"/>
              </a:rPr>
              <a:t>по умолчанию 30 секунд ожидания</a:t>
            </a:r>
            <a:endParaRPr lang="en-US" sz="2000" dirty="0">
              <a:latin typeface="+mj-lt"/>
            </a:endParaRPr>
          </a:p>
        </p:txBody>
      </p:sp>
    </p:spTree>
    <p:extLst>
      <p:ext uri="{BB962C8B-B14F-4D97-AF65-F5344CB8AC3E}">
        <p14:creationId xmlns:p14="http://schemas.microsoft.com/office/powerpoint/2010/main" val="229051687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36837" y="1478704"/>
            <a:ext cx="3355163" cy="3355163"/>
          </a:xfrm>
          <a:prstGeom prst="rect">
            <a:avLst/>
          </a:prstGeom>
        </p:spPr>
      </p:pic>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56605" y="1300799"/>
            <a:ext cx="2282288" cy="1855487"/>
          </a:xfrm>
          <a:prstGeom prst="rect">
            <a:avLst/>
          </a:prstGeom>
        </p:spPr>
      </p:pic>
      <p:sp>
        <p:nvSpPr>
          <p:cNvPr id="5" name="Title 3"/>
          <p:cNvSpPr>
            <a:spLocks noGrp="1"/>
          </p:cNvSpPr>
          <p:nvPr>
            <p:ph type="title"/>
          </p:nvPr>
        </p:nvSpPr>
        <p:spPr>
          <a:xfrm>
            <a:off x="2981386" y="1457391"/>
            <a:ext cx="11151917" cy="771151"/>
          </a:xfrm>
        </p:spPr>
        <p:txBody>
          <a:bodyPr/>
          <a:lstStyle/>
          <a:p>
            <a:r>
              <a:rPr lang="en-US" sz="11500" b="1" dirty="0" smtClean="0"/>
              <a:t>@</a:t>
            </a:r>
            <a:r>
              <a:rPr lang="en-US" sz="11500" b="1" dirty="0" err="1" smtClean="0"/>
              <a:t>abokov</a:t>
            </a:r>
            <a:endParaRPr lang="ru-RU" sz="11500" b="1" dirty="0"/>
          </a:p>
        </p:txBody>
      </p:sp>
      <p:sp>
        <p:nvSpPr>
          <p:cNvPr id="7" name="Title 3"/>
          <p:cNvSpPr txBox="1">
            <a:spLocks/>
          </p:cNvSpPr>
          <p:nvPr/>
        </p:nvSpPr>
        <p:spPr>
          <a:xfrm>
            <a:off x="407749" y="4533744"/>
            <a:ext cx="11151917" cy="771151"/>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9600" b="1" u="sng" dirty="0" smtClean="0">
                <a:solidFill>
                  <a:schemeClr val="accent5">
                    <a:lumMod val="25000"/>
                  </a:schemeClr>
                </a:solidFill>
              </a:rPr>
              <a:t>twitter.com/</a:t>
            </a:r>
            <a:r>
              <a:rPr lang="en-US" sz="9600" b="1" u="sng" dirty="0" err="1" smtClean="0">
                <a:solidFill>
                  <a:schemeClr val="accent5">
                    <a:lumMod val="25000"/>
                  </a:schemeClr>
                </a:solidFill>
              </a:rPr>
              <a:t>abokov</a:t>
            </a:r>
            <a:endParaRPr lang="ru-RU" sz="9600" b="1" u="sng" dirty="0">
              <a:solidFill>
                <a:schemeClr val="accent5">
                  <a:lumMod val="25000"/>
                </a:schemeClr>
              </a:solidFill>
            </a:endParaRPr>
          </a:p>
        </p:txBody>
      </p:sp>
      <p:sp>
        <p:nvSpPr>
          <p:cNvPr id="8" name="Title 3"/>
          <p:cNvSpPr txBox="1">
            <a:spLocks/>
          </p:cNvSpPr>
          <p:nvPr/>
        </p:nvSpPr>
        <p:spPr>
          <a:xfrm>
            <a:off x="381001" y="280419"/>
            <a:ext cx="11151917" cy="771151"/>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ru-RU" dirty="0" smtClean="0"/>
              <a:t>Эта презентация уже выложена здесь</a:t>
            </a:r>
            <a:r>
              <a:rPr lang="en-US" dirty="0" smtClean="0"/>
              <a:t>:</a:t>
            </a:r>
            <a:endParaRPr lang="ru-RU" dirty="0"/>
          </a:p>
        </p:txBody>
      </p:sp>
    </p:spTree>
    <p:extLst>
      <p:ext uri="{BB962C8B-B14F-4D97-AF65-F5344CB8AC3E}">
        <p14:creationId xmlns:p14="http://schemas.microsoft.com/office/powerpoint/2010/main" val="5221624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575" y="288925"/>
            <a:ext cx="11655425" cy="900113"/>
          </a:xfrm>
          <a:prstGeom prst="rect">
            <a:avLst/>
          </a:prstGeom>
        </p:spPr>
        <p:txBody>
          <a:bodyPr/>
          <a:lstStyle/>
          <a:p>
            <a:r>
              <a:rPr lang="ru-RU" dirty="0" smtClean="0"/>
              <a:t>Управление запуском через </a:t>
            </a:r>
            <a:r>
              <a:rPr lang="en-US" dirty="0" err="1" smtClean="0"/>
              <a:t>settings.job</a:t>
            </a:r>
            <a:endParaRPr lang="ru-RU" dirty="0"/>
          </a:p>
        </p:txBody>
      </p:sp>
      <p:sp>
        <p:nvSpPr>
          <p:cNvPr id="3" name="Content Placeholder 2"/>
          <p:cNvSpPr>
            <a:spLocks noGrp="1"/>
          </p:cNvSpPr>
          <p:nvPr>
            <p:ph idx="4294967295"/>
          </p:nvPr>
        </p:nvSpPr>
        <p:spPr>
          <a:xfrm>
            <a:off x="536575" y="1224684"/>
            <a:ext cx="11412970" cy="5061815"/>
          </a:xfrm>
          <a:prstGeom prst="rect">
            <a:avLst/>
          </a:prstGeom>
        </p:spPr>
        <p:txBody>
          <a:bodyPr/>
          <a:lstStyle/>
          <a:p>
            <a:pPr marL="0" indent="0">
              <a:buNone/>
            </a:pPr>
            <a:r>
              <a:rPr lang="ru-RU" sz="2000" dirty="0" smtClean="0">
                <a:latin typeface="+mj-lt"/>
              </a:rPr>
              <a:t>Этот файл должен находится в корневой папке там же где и выполняемый файл.</a:t>
            </a:r>
          </a:p>
          <a:p>
            <a:r>
              <a:rPr lang="ru-RU" sz="2000" dirty="0" smtClean="0">
                <a:latin typeface="+mj-lt"/>
              </a:rPr>
              <a:t>По умолчанию для всех задач ( кроме </a:t>
            </a:r>
            <a:r>
              <a:rPr lang="en-US" sz="2000" dirty="0" smtClean="0">
                <a:latin typeface="+mj-lt"/>
              </a:rPr>
              <a:t>.JS )</a:t>
            </a:r>
            <a:r>
              <a:rPr lang="ru-RU" sz="2000" dirty="0" smtClean="0">
                <a:latin typeface="+mj-lt"/>
              </a:rPr>
              <a:t> при каждом запуске выполняется копирование всех файлов в </a:t>
            </a:r>
            <a:r>
              <a:rPr lang="en-US" sz="2000" dirty="0" smtClean="0">
                <a:latin typeface="+mj-lt"/>
              </a:rPr>
              <a:t> </a:t>
            </a:r>
            <a:r>
              <a:rPr lang="en-US" sz="2000" b="1" dirty="0" smtClean="0">
                <a:latin typeface="+mj-lt"/>
              </a:rPr>
              <a:t>%</a:t>
            </a:r>
            <a:r>
              <a:rPr lang="en-US" sz="2000" b="1" dirty="0">
                <a:latin typeface="+mj-lt"/>
              </a:rPr>
              <a:t>TEMP%\jobs\{job type}\{job name}\{random name</a:t>
            </a:r>
            <a:r>
              <a:rPr lang="en-US" sz="2000" dirty="0" smtClean="0">
                <a:latin typeface="+mj-lt"/>
              </a:rPr>
              <a:t>}</a:t>
            </a:r>
            <a:r>
              <a:rPr lang="ru-RU" sz="2000" dirty="0" smtClean="0">
                <a:latin typeface="+mj-lt"/>
              </a:rPr>
              <a:t> </a:t>
            </a:r>
            <a:r>
              <a:rPr lang="en-US" sz="2000" dirty="0" smtClean="0">
                <a:latin typeface="+mj-lt"/>
              </a:rPr>
              <a:t> </a:t>
            </a:r>
            <a:r>
              <a:rPr lang="ru-RU" sz="2000" dirty="0" smtClean="0">
                <a:latin typeface="+mj-lt"/>
              </a:rPr>
              <a:t>где и происходит запуск задачи.</a:t>
            </a:r>
            <a:endParaRPr lang="en-US" sz="2000" dirty="0" smtClean="0">
              <a:latin typeface="+mj-lt"/>
            </a:endParaRPr>
          </a:p>
          <a:p>
            <a:r>
              <a:rPr lang="ru-RU" sz="2000" dirty="0" smtClean="0">
                <a:latin typeface="+mj-lt"/>
              </a:rPr>
              <a:t>Вторая опция называется </a:t>
            </a:r>
            <a:r>
              <a:rPr lang="en-US" sz="2000" dirty="0" smtClean="0">
                <a:latin typeface="+mj-lt"/>
              </a:rPr>
              <a:t>in place </a:t>
            </a:r>
            <a:r>
              <a:rPr lang="ru-RU" sz="2000" dirty="0" smtClean="0">
                <a:latin typeface="+mj-lt"/>
              </a:rPr>
              <a:t>– при этом запуск производится в том же месте  где выложен код </a:t>
            </a:r>
            <a:r>
              <a:rPr lang="en-US" sz="2000" dirty="0" err="1" smtClean="0">
                <a:latin typeface="+mj-lt"/>
              </a:rPr>
              <a:t>webjobs</a:t>
            </a:r>
            <a:r>
              <a:rPr lang="ru-RU" sz="2000" dirty="0">
                <a:latin typeface="+mj-lt"/>
              </a:rPr>
              <a:t> </a:t>
            </a:r>
            <a:r>
              <a:rPr lang="ru-RU" sz="2000" dirty="0" smtClean="0">
                <a:latin typeface="+mj-lt"/>
              </a:rPr>
              <a:t>(</a:t>
            </a:r>
            <a:r>
              <a:rPr lang="en-US" sz="2000" dirty="0" smtClean="0">
                <a:latin typeface="+mj-lt"/>
              </a:rPr>
              <a:t> </a:t>
            </a:r>
            <a:r>
              <a:rPr lang="en-US" sz="2000" dirty="0" err="1" smtClean="0">
                <a:latin typeface="+mj-lt"/>
              </a:rPr>
              <a:t>wwwroot</a:t>
            </a:r>
            <a:r>
              <a:rPr lang="en-US" sz="2000" dirty="0" smtClean="0">
                <a:latin typeface="+mj-lt"/>
              </a:rPr>
              <a:t>/</a:t>
            </a:r>
            <a:r>
              <a:rPr lang="en-US" sz="2000" dirty="0" err="1" smtClean="0">
                <a:latin typeface="+mj-lt"/>
              </a:rPr>
              <a:t>app_data</a:t>
            </a:r>
            <a:r>
              <a:rPr lang="en-US" sz="2000" dirty="0" smtClean="0">
                <a:latin typeface="+mj-lt"/>
              </a:rPr>
              <a:t>/job,…. ) </a:t>
            </a:r>
            <a:r>
              <a:rPr lang="ru-RU" sz="2000" dirty="0" smtClean="0">
                <a:latin typeface="+mj-lt"/>
              </a:rPr>
              <a:t>Это устанавливается в </a:t>
            </a:r>
            <a:r>
              <a:rPr lang="en-US" sz="2000" dirty="0" err="1" smtClean="0">
                <a:latin typeface="+mj-lt"/>
              </a:rPr>
              <a:t>settings.job</a:t>
            </a:r>
            <a:r>
              <a:rPr lang="en-US" sz="2000" dirty="0" smtClean="0">
                <a:latin typeface="+mj-lt"/>
              </a:rPr>
              <a:t> </a:t>
            </a:r>
            <a:r>
              <a:rPr lang="ru-RU" sz="2000" dirty="0" smtClean="0">
                <a:latin typeface="+mj-lt"/>
              </a:rPr>
              <a:t>при помощи </a:t>
            </a:r>
            <a:r>
              <a:rPr lang="en-US" sz="2000" dirty="0">
                <a:latin typeface="+mj-lt"/>
              </a:rPr>
              <a:t>{ "</a:t>
            </a:r>
            <a:r>
              <a:rPr lang="en-US" sz="2000" dirty="0" err="1">
                <a:latin typeface="+mj-lt"/>
              </a:rPr>
              <a:t>is_in_place</a:t>
            </a:r>
            <a:r>
              <a:rPr lang="en-US" sz="2000" dirty="0">
                <a:latin typeface="+mj-lt"/>
              </a:rPr>
              <a:t>": </a:t>
            </a:r>
            <a:r>
              <a:rPr lang="en-US" sz="2000" dirty="0" smtClean="0">
                <a:latin typeface="+mj-lt"/>
              </a:rPr>
              <a:t>true }</a:t>
            </a:r>
            <a:endParaRPr lang="ru-RU" sz="2000" dirty="0" smtClean="0">
              <a:latin typeface="+mj-lt"/>
            </a:endParaRPr>
          </a:p>
          <a:p>
            <a:r>
              <a:rPr lang="ru-RU" sz="2000" dirty="0" smtClean="0">
                <a:latin typeface="+mj-lt"/>
              </a:rPr>
              <a:t>Дополнительно в этом файле можно менять время ожидания принудительно остановки задач</a:t>
            </a:r>
            <a:endParaRPr lang="ru-RU" sz="2000" dirty="0">
              <a:latin typeface="+mj-lt"/>
            </a:endParaRPr>
          </a:p>
          <a:p>
            <a:pPr marL="0" indent="0">
              <a:buNone/>
            </a:pPr>
            <a:r>
              <a:rPr lang="ru-RU" sz="2000" dirty="0">
                <a:latin typeface="+mj-lt"/>
              </a:rPr>
              <a:t>	</a:t>
            </a:r>
            <a:r>
              <a:rPr lang="en-US" sz="2000" dirty="0" smtClean="0">
                <a:latin typeface="+mj-lt"/>
              </a:rPr>
              <a:t>{ </a:t>
            </a:r>
            <a:r>
              <a:rPr lang="en-US" sz="2000" dirty="0">
                <a:latin typeface="+mj-lt"/>
              </a:rPr>
              <a:t>"</a:t>
            </a:r>
            <a:r>
              <a:rPr lang="en-US" sz="2000" dirty="0" err="1">
                <a:latin typeface="+mj-lt"/>
              </a:rPr>
              <a:t>stopping_wait_time</a:t>
            </a:r>
            <a:r>
              <a:rPr lang="en-US" sz="2000" dirty="0">
                <a:latin typeface="+mj-lt"/>
              </a:rPr>
              <a:t>": 60 }</a:t>
            </a:r>
          </a:p>
          <a:p>
            <a:pPr marL="0" indent="0">
              <a:buNone/>
            </a:pPr>
            <a:endParaRPr lang="en-US" sz="2000" dirty="0">
              <a:latin typeface="+mj-lt"/>
            </a:endParaRPr>
          </a:p>
        </p:txBody>
      </p:sp>
    </p:spTree>
    <p:extLst>
      <p:ext uri="{BB962C8B-B14F-4D97-AF65-F5344CB8AC3E}">
        <p14:creationId xmlns:p14="http://schemas.microsoft.com/office/powerpoint/2010/main" val="334394881"/>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536575" y="288925"/>
            <a:ext cx="11655425" cy="900113"/>
          </a:xfrm>
          <a:prstGeom prst="rect">
            <a:avLst/>
          </a:prstGeom>
        </p:spPr>
        <p:txBody>
          <a:bodyPr/>
          <a:lstStyle/>
          <a:p>
            <a:r>
              <a:rPr lang="ru-RU" dirty="0" smtClean="0"/>
              <a:t>Переменные окружения</a:t>
            </a:r>
            <a:endParaRPr lang="ru-RU" dirty="0"/>
          </a:p>
        </p:txBody>
      </p:sp>
      <p:graphicFrame>
        <p:nvGraphicFramePr>
          <p:cNvPr id="6" name="Table 5"/>
          <p:cNvGraphicFramePr>
            <a:graphicFrameLocks noGrp="1"/>
          </p:cNvGraphicFramePr>
          <p:nvPr>
            <p:extLst>
              <p:ext uri="{D42A27DB-BD31-4B8C-83A1-F6EECF244321}">
                <p14:modId xmlns:p14="http://schemas.microsoft.com/office/powerpoint/2010/main" val="2231890891"/>
              </p:ext>
            </p:extLst>
          </p:nvPr>
        </p:nvGraphicFramePr>
        <p:xfrm>
          <a:off x="228602" y="1340426"/>
          <a:ext cx="11346870" cy="4391852"/>
        </p:xfrm>
        <a:graphic>
          <a:graphicData uri="http://schemas.openxmlformats.org/drawingml/2006/table">
            <a:tbl>
              <a:tblPr/>
              <a:tblGrid>
                <a:gridCol w="3782290"/>
                <a:gridCol w="3782290"/>
                <a:gridCol w="3782290"/>
              </a:tblGrid>
              <a:tr h="402996">
                <a:tc>
                  <a:txBody>
                    <a:bodyPr/>
                    <a:lstStyle/>
                    <a:p>
                      <a:r>
                        <a:rPr lang="en-US" sz="1800" dirty="0"/>
                        <a:t>Variable name </a:t>
                      </a:r>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800"/>
                        <a:t>Description </a:t>
                      </a:r>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800"/>
                        <a:t>Example </a:t>
                      </a:r>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30260">
                <a:tc>
                  <a:txBody>
                    <a:bodyPr/>
                    <a:lstStyle/>
                    <a:p>
                      <a:r>
                        <a:rPr lang="en-US" sz="1800"/>
                        <a:t>HOME </a:t>
                      </a:r>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800"/>
                        <a:t>Web site root directory </a:t>
                      </a:r>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800"/>
                        <a:t>D:\home </a:t>
                      </a:r>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30260">
                <a:tc>
                  <a:txBody>
                    <a:bodyPr/>
                    <a:lstStyle/>
                    <a:p>
                      <a:r>
                        <a:rPr lang="en-US" sz="1800"/>
                        <a:t>WEBJOBS_DATA_PATH </a:t>
                      </a:r>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800"/>
                        <a:t>Job data directory </a:t>
                      </a:r>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800"/>
                        <a:t>D:\home\data\jobs\type\name. </a:t>
                      </a:r>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30260">
                <a:tc>
                  <a:txBody>
                    <a:bodyPr/>
                    <a:lstStyle/>
                    <a:p>
                      <a:r>
                        <a:rPr lang="en-US" sz="1800"/>
                        <a:t>WEBJOBS_NAME </a:t>
                      </a:r>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800"/>
                        <a:t>Job name </a:t>
                      </a:r>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ru-RU" sz="1800"/>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576733">
                <a:tc>
                  <a:txBody>
                    <a:bodyPr/>
                    <a:lstStyle/>
                    <a:p>
                      <a:r>
                        <a:rPr lang="en-US" sz="1800" dirty="0"/>
                        <a:t>WEBJOBS_PATH </a:t>
                      </a:r>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800"/>
                        <a:t>Temporary directory, where job is running </a:t>
                      </a:r>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800"/>
                        <a:t>C:\DWASFiles\Sites\~1sitename\Temp\jobs\type\name\lpej4hrk.fks </a:t>
                      </a:r>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316156">
                <a:tc>
                  <a:txBody>
                    <a:bodyPr/>
                    <a:lstStyle/>
                    <a:p>
                      <a:r>
                        <a:rPr lang="en-US" sz="1800" dirty="0"/>
                        <a:t>WEBJOBS_RUN_ID </a:t>
                      </a:r>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800"/>
                        <a:t>An unique ID of the job run (an UTC timestamp of the run). There’s a data folder created for every run in %WEBJOBS_DATA_PATH%\%WEBJOBS_RUN_ID% </a:t>
                      </a:r>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ru-RU" sz="1800" dirty="0"/>
                        <a:t>201409090707416329 </a:t>
                      </a:r>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30260">
                <a:tc>
                  <a:txBody>
                    <a:bodyPr/>
                    <a:lstStyle/>
                    <a:p>
                      <a:r>
                        <a:rPr lang="en-US" sz="1800"/>
                        <a:t>WEBJOBS_TYPE </a:t>
                      </a:r>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800"/>
                        <a:t>Job type </a:t>
                      </a:r>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800"/>
                        <a:t>triggered or continuous </a:t>
                      </a:r>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30260">
                <a:tc>
                  <a:txBody>
                    <a:bodyPr/>
                    <a:lstStyle/>
                    <a:p>
                      <a:r>
                        <a:rPr lang="en-US" sz="1800"/>
                        <a:t>WEBROOT_PATH </a:t>
                      </a:r>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800"/>
                        <a:t>Web site root directory </a:t>
                      </a:r>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800"/>
                        <a:t>D:\home\site\wwwroot </a:t>
                      </a:r>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30260">
                <a:tc>
                  <a:txBody>
                    <a:bodyPr/>
                    <a:lstStyle/>
                    <a:p>
                      <a:r>
                        <a:rPr lang="en-US" sz="1800"/>
                        <a:t>WEBSITE_SITE_NAME </a:t>
                      </a:r>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800"/>
                        <a:t>Web site name </a:t>
                      </a:r>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ru-RU" sz="1800" dirty="0"/>
                    </a:p>
                  </a:txBody>
                  <a:tcPr marL="43528" marR="43528" marT="21764" marB="2176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3573983165"/>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41721" y="195406"/>
            <a:ext cx="11655425" cy="900113"/>
          </a:xfrm>
          <a:prstGeom prst="rect">
            <a:avLst/>
          </a:prstGeom>
        </p:spPr>
        <p:txBody>
          <a:bodyPr/>
          <a:lstStyle/>
          <a:p>
            <a:r>
              <a:rPr lang="ru-RU" dirty="0" smtClean="0"/>
              <a:t>Пример</a:t>
            </a:r>
            <a:endParaRPr lang="ru-RU" dirty="0"/>
          </a:p>
        </p:txBody>
      </p:sp>
      <p:sp>
        <p:nvSpPr>
          <p:cNvPr id="3" name="Content Placeholder 2"/>
          <p:cNvSpPr>
            <a:spLocks noGrp="1"/>
          </p:cNvSpPr>
          <p:nvPr>
            <p:ph idx="4294967295"/>
          </p:nvPr>
        </p:nvSpPr>
        <p:spPr>
          <a:xfrm>
            <a:off x="263525" y="1095519"/>
            <a:ext cx="11928475" cy="5613400"/>
          </a:xfrm>
          <a:prstGeom prst="rect">
            <a:avLst/>
          </a:prstGeom>
        </p:spPr>
        <p:txBody>
          <a:bodyPr/>
          <a:lstStyle/>
          <a:p>
            <a:pPr marL="0" indent="0">
              <a:buNone/>
            </a:pPr>
            <a:r>
              <a:rPr lang="en-US" sz="1600" b="1" dirty="0">
                <a:latin typeface="+mj-lt"/>
              </a:rPr>
              <a:t>@echo off</a:t>
            </a:r>
          </a:p>
          <a:p>
            <a:pPr marL="0" indent="0">
              <a:buNone/>
            </a:pPr>
            <a:r>
              <a:rPr lang="en-US" sz="1600" b="1" dirty="0">
                <a:latin typeface="+mj-lt"/>
              </a:rPr>
              <a:t>set LOG=%WEBJOBS_DATA_PATH%\%WEBJOBS_RUN_ID%\session.log</a:t>
            </a:r>
          </a:p>
          <a:p>
            <a:pPr marL="0" indent="0">
              <a:buNone/>
            </a:pPr>
            <a:endParaRPr lang="en-US" sz="1600" b="1" dirty="0" smtClean="0">
              <a:latin typeface="+mj-lt"/>
            </a:endParaRPr>
          </a:p>
          <a:p>
            <a:pPr marL="0" indent="0">
              <a:buNone/>
            </a:pPr>
            <a:r>
              <a:rPr lang="en-US" sz="1600" b="1" dirty="0">
                <a:latin typeface="+mj-lt"/>
              </a:rPr>
              <a:t>echo WEBJOBS_PATH is %WEBJOBS_PATH%</a:t>
            </a:r>
          </a:p>
          <a:p>
            <a:pPr marL="0" indent="0">
              <a:buNone/>
            </a:pPr>
            <a:r>
              <a:rPr lang="en-US" sz="1600" b="1" dirty="0" smtClean="0">
                <a:latin typeface="+mj-lt"/>
              </a:rPr>
              <a:t>echo </a:t>
            </a:r>
            <a:r>
              <a:rPr lang="en-US" sz="1600" b="1" dirty="0">
                <a:latin typeface="+mj-lt"/>
              </a:rPr>
              <a:t>Running script</a:t>
            </a:r>
            <a:r>
              <a:rPr lang="en-US" sz="1600" b="1" dirty="0" smtClean="0">
                <a:latin typeface="+mj-lt"/>
              </a:rPr>
              <a:t>... &gt;&gt; %LOG%</a:t>
            </a:r>
            <a:endParaRPr lang="en-US" sz="1600" b="1" dirty="0">
              <a:latin typeface="+mj-lt"/>
            </a:endParaRPr>
          </a:p>
          <a:p>
            <a:pPr marL="0" indent="0">
              <a:buNone/>
            </a:pPr>
            <a:r>
              <a:rPr lang="en-US" sz="1600" b="1" dirty="0" smtClean="0">
                <a:latin typeface="+mj-lt"/>
              </a:rPr>
              <a:t>date &gt;&gt;%LOG</a:t>
            </a:r>
            <a:r>
              <a:rPr lang="en-US" sz="1600" b="1" dirty="0">
                <a:latin typeface="+mj-lt"/>
              </a:rPr>
              <a:t>%</a:t>
            </a:r>
          </a:p>
          <a:p>
            <a:pPr marL="0" indent="0">
              <a:buNone/>
            </a:pPr>
            <a:r>
              <a:rPr lang="en-US" sz="1600" b="1" dirty="0">
                <a:latin typeface="+mj-lt"/>
              </a:rPr>
              <a:t>set RESULT=%ERRORLEVEL%</a:t>
            </a:r>
          </a:p>
          <a:p>
            <a:pPr marL="0" indent="0">
              <a:buNone/>
            </a:pPr>
            <a:r>
              <a:rPr lang="en-US" sz="1600" b="1" dirty="0">
                <a:latin typeface="+mj-lt"/>
              </a:rPr>
              <a:t>echo Result code is %RESULT%</a:t>
            </a:r>
          </a:p>
          <a:p>
            <a:pPr marL="0" indent="0">
              <a:buNone/>
            </a:pPr>
            <a:r>
              <a:rPr lang="en-US" sz="1600" b="1" dirty="0">
                <a:latin typeface="+mj-lt"/>
              </a:rPr>
              <a:t> </a:t>
            </a:r>
          </a:p>
          <a:p>
            <a:pPr marL="0" indent="0">
              <a:buNone/>
            </a:pPr>
            <a:r>
              <a:rPr lang="en-US" sz="1600" b="1" dirty="0">
                <a:latin typeface="+mj-lt"/>
              </a:rPr>
              <a:t>rem Dumping session log to Azure log (standard output) when it exists</a:t>
            </a:r>
          </a:p>
          <a:p>
            <a:pPr marL="0" indent="0">
              <a:buNone/>
            </a:pPr>
            <a:r>
              <a:rPr lang="en-US" sz="1600" b="1" dirty="0">
                <a:latin typeface="+mj-lt"/>
              </a:rPr>
              <a:t>if exist %LOG% (</a:t>
            </a:r>
          </a:p>
          <a:p>
            <a:pPr marL="0" indent="0">
              <a:buNone/>
            </a:pPr>
            <a:r>
              <a:rPr lang="en-US" sz="1600" b="1" dirty="0">
                <a:latin typeface="+mj-lt"/>
              </a:rPr>
              <a:t>    echo Session log:</a:t>
            </a:r>
          </a:p>
          <a:p>
            <a:pPr marL="0" indent="0">
              <a:buNone/>
            </a:pPr>
            <a:r>
              <a:rPr lang="en-US" sz="1600" b="1" dirty="0">
                <a:latin typeface="+mj-lt"/>
              </a:rPr>
              <a:t>    type %LOG%</a:t>
            </a:r>
          </a:p>
          <a:p>
            <a:pPr marL="0" indent="0">
              <a:buNone/>
            </a:pPr>
            <a:r>
              <a:rPr lang="en-US" sz="1600" b="1" dirty="0" smtClean="0">
                <a:latin typeface="+mj-lt"/>
              </a:rPr>
              <a:t>) </a:t>
            </a:r>
            <a:endParaRPr lang="en-US" sz="1600" b="1" dirty="0">
              <a:latin typeface="+mj-lt"/>
            </a:endParaRPr>
          </a:p>
          <a:p>
            <a:pPr marL="0" indent="0">
              <a:buNone/>
            </a:pPr>
            <a:r>
              <a:rPr lang="en-US" sz="1600" b="1" dirty="0">
                <a:latin typeface="+mj-lt"/>
              </a:rPr>
              <a:t>rem Propagating </a:t>
            </a:r>
            <a:r>
              <a:rPr lang="en-US" sz="1600" b="1" dirty="0" err="1">
                <a:latin typeface="+mj-lt"/>
              </a:rPr>
              <a:t>WinSCP</a:t>
            </a:r>
            <a:r>
              <a:rPr lang="en-US" sz="1600" b="1" dirty="0">
                <a:latin typeface="+mj-lt"/>
              </a:rPr>
              <a:t> exit code to Azure</a:t>
            </a:r>
          </a:p>
          <a:p>
            <a:pPr marL="0" indent="0">
              <a:buNone/>
            </a:pPr>
            <a:r>
              <a:rPr lang="en-US" sz="1600" b="1" dirty="0">
                <a:latin typeface="+mj-lt"/>
              </a:rPr>
              <a:t>exit %RESULT%</a:t>
            </a:r>
          </a:p>
          <a:p>
            <a:pPr marL="0" indent="0">
              <a:buNone/>
            </a:pPr>
            <a:endParaRPr lang="en-US" sz="1600" b="1" dirty="0" smtClean="0">
              <a:latin typeface="+mj-lt"/>
            </a:endParaRPr>
          </a:p>
        </p:txBody>
      </p:sp>
    </p:spTree>
    <p:extLst>
      <p:ext uri="{BB962C8B-B14F-4D97-AF65-F5344CB8AC3E}">
        <p14:creationId xmlns:p14="http://schemas.microsoft.com/office/powerpoint/2010/main" val="3512796225"/>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title"/>
          </p:nvPr>
        </p:nvSpPr>
        <p:spPr>
          <a:xfrm>
            <a:off x="1749788" y="131068"/>
            <a:ext cx="10297800" cy="1260000"/>
          </a:xfrm>
        </p:spPr>
        <p:txBody>
          <a:bodyPr>
            <a:normAutofit/>
          </a:bodyPr>
          <a:lstStyle/>
          <a:p>
            <a:r>
              <a:rPr lang="en-US" dirty="0" smtClean="0"/>
              <a:t>Traffic Manager –</a:t>
            </a:r>
            <a:br>
              <a:rPr lang="en-US" dirty="0" smtClean="0"/>
            </a:br>
            <a:r>
              <a:rPr lang="en-US" dirty="0" smtClean="0"/>
              <a:t> how it works ?</a:t>
            </a:r>
            <a:endParaRPr lang="ru-RU"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77054" y="77488"/>
            <a:ext cx="6070534" cy="6780512"/>
          </a:xfrm>
          <a:prstGeom prst="rect">
            <a:avLst/>
          </a:prstGeom>
        </p:spPr>
      </p:pic>
    </p:spTree>
    <p:extLst>
      <p:ext uri="{BB962C8B-B14F-4D97-AF65-F5344CB8AC3E}">
        <p14:creationId xmlns:p14="http://schemas.microsoft.com/office/powerpoint/2010/main" val="288052319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Заголовок 3"/>
          <p:cNvSpPr txBox="1">
            <a:spLocks/>
          </p:cNvSpPr>
          <p:nvPr/>
        </p:nvSpPr>
        <p:spPr>
          <a:xfrm>
            <a:off x="-1" y="66190"/>
            <a:ext cx="12089081" cy="1260000"/>
          </a:xfrm>
          <a:prstGeom prst="rect">
            <a:avLst/>
          </a:prstGeom>
        </p:spPr>
        <p:txBody>
          <a:bodyPr vert="horz" lIns="36000" tIns="45720" rIns="36000" bIns="45720" rtlCol="0" anchor="ctr">
            <a:noAutofit/>
          </a:bodyPr>
          <a:lstStyle>
            <a:lvl1pPr algn="l" defTabSz="914400" rtl="0" eaLnBrk="1" latinLnBrk="0" hangingPunct="1">
              <a:lnSpc>
                <a:spcPct val="90000"/>
              </a:lnSpc>
              <a:spcBef>
                <a:spcPct val="0"/>
              </a:spcBef>
              <a:buNone/>
              <a:defRPr sz="4200" kern="1200">
                <a:solidFill>
                  <a:schemeClr val="tx1"/>
                </a:solidFill>
                <a:latin typeface="+mj-lt"/>
                <a:ea typeface="+mj-ea"/>
                <a:cs typeface="+mj-cs"/>
              </a:defRPr>
            </a:lvl1pPr>
          </a:lstStyle>
          <a:p>
            <a:r>
              <a:rPr lang="en-US" sz="4800" b="1" dirty="0" smtClean="0">
                <a:solidFill>
                  <a:srgbClr val="060F18"/>
                </a:solidFill>
              </a:rPr>
              <a:t>Use Azure to load </a:t>
            </a:r>
          </a:p>
          <a:p>
            <a:r>
              <a:rPr lang="en-US" sz="4800" b="1" dirty="0" smtClean="0">
                <a:solidFill>
                  <a:srgbClr val="060F18"/>
                </a:solidFill>
              </a:rPr>
              <a:t>Balancing  (round robin)</a:t>
            </a:r>
            <a:endParaRPr lang="ru-RU" sz="4800" b="1" dirty="0">
              <a:solidFill>
                <a:srgbClr val="060F18"/>
              </a:solidFill>
            </a:endParaRPr>
          </a:p>
        </p:txBody>
      </p:sp>
      <p:sp>
        <p:nvSpPr>
          <p:cNvPr id="25" name="Rectangle 24"/>
          <p:cNvSpPr/>
          <p:nvPr/>
        </p:nvSpPr>
        <p:spPr>
          <a:xfrm>
            <a:off x="345598" y="1638129"/>
            <a:ext cx="5341524" cy="806209"/>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2800" dirty="0" smtClean="0">
                <a:solidFill>
                  <a:srgbClr val="FFFFFF"/>
                </a:solidFill>
              </a:rPr>
              <a:t>www.cloudtechnologies.org</a:t>
            </a:r>
            <a:endParaRPr lang="ru-RU" sz="2800" dirty="0">
              <a:solidFill>
                <a:srgbClr val="FFFFFF"/>
              </a:solidFill>
            </a:endParaRPr>
          </a:p>
        </p:txBody>
      </p:sp>
      <p:sp>
        <p:nvSpPr>
          <p:cNvPr id="26" name="Rectangle 25"/>
          <p:cNvSpPr/>
          <p:nvPr/>
        </p:nvSpPr>
        <p:spPr>
          <a:xfrm>
            <a:off x="-1" y="4342718"/>
            <a:ext cx="5330283" cy="814159"/>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2800" dirty="0" smtClean="0">
                <a:solidFill>
                  <a:srgbClr val="FFFFFF"/>
                </a:solidFill>
              </a:rPr>
              <a:t>msdevtour</a:t>
            </a:r>
            <a:r>
              <a:rPr lang="en-US" sz="2800" dirty="0" smtClean="0">
                <a:solidFill>
                  <a:srgbClr val="FFFFFF"/>
                </a:solidFill>
              </a:rPr>
              <a:t>.trafficmanager.net</a:t>
            </a:r>
            <a:endParaRPr lang="en-US" sz="2800" dirty="0" smtClean="0">
              <a:solidFill>
                <a:srgbClr val="FFFFFF"/>
              </a:solidFill>
            </a:endParaRPr>
          </a:p>
          <a:p>
            <a:pPr algn="ctr"/>
            <a:r>
              <a:rPr lang="en-US" dirty="0" smtClean="0">
                <a:solidFill>
                  <a:srgbClr val="FFFFFF"/>
                </a:solidFill>
              </a:rPr>
              <a:t>Mode: </a:t>
            </a:r>
            <a:r>
              <a:rPr lang="en-US" sz="2400" b="1" dirty="0" err="1" smtClean="0">
                <a:solidFill>
                  <a:srgbClr val="FFFFFF"/>
                </a:solidFill>
              </a:rPr>
              <a:t>roundrobin</a:t>
            </a:r>
            <a:endParaRPr lang="ru-RU" sz="2400" b="1" dirty="0">
              <a:solidFill>
                <a:srgbClr val="FFFFFF"/>
              </a:solidFill>
            </a:endParaRPr>
          </a:p>
        </p:txBody>
      </p:sp>
      <p:sp>
        <p:nvSpPr>
          <p:cNvPr id="27" name="Rectangle 26"/>
          <p:cNvSpPr/>
          <p:nvPr/>
        </p:nvSpPr>
        <p:spPr>
          <a:xfrm>
            <a:off x="7953146" y="3780629"/>
            <a:ext cx="4135934" cy="814159"/>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dirty="0" smtClean="0">
                <a:solidFill>
                  <a:srgbClr val="FFFFFF"/>
                </a:solidFill>
              </a:rPr>
              <a:t>VM </a:t>
            </a:r>
            <a:r>
              <a:rPr lang="en-US" dirty="0" smtClean="0">
                <a:solidFill>
                  <a:srgbClr val="FFFFFF"/>
                </a:solidFill>
              </a:rPr>
              <a:t>(</a:t>
            </a:r>
            <a:r>
              <a:rPr lang="en-US" dirty="0"/>
              <a:t>9172.vps.hc.ru</a:t>
            </a:r>
            <a:r>
              <a:rPr lang="en-US" dirty="0" smtClean="0">
                <a:solidFill>
                  <a:srgbClr val="FFFFFF"/>
                </a:solidFill>
              </a:rPr>
              <a:t> </a:t>
            </a:r>
            <a:r>
              <a:rPr lang="en-US" dirty="0" smtClean="0">
                <a:solidFill>
                  <a:srgbClr val="FFFFFF"/>
                </a:solidFill>
              </a:rPr>
              <a:t>)</a:t>
            </a:r>
            <a:endParaRPr lang="ru-RU" dirty="0">
              <a:solidFill>
                <a:srgbClr val="FFFFFF"/>
              </a:solidFill>
            </a:endParaRPr>
          </a:p>
        </p:txBody>
      </p:sp>
      <p:sp>
        <p:nvSpPr>
          <p:cNvPr id="28" name="Rectangle 27"/>
          <p:cNvSpPr/>
          <p:nvPr/>
        </p:nvSpPr>
        <p:spPr>
          <a:xfrm>
            <a:off x="7795066" y="5596386"/>
            <a:ext cx="3970361" cy="1183010"/>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dirty="0" smtClean="0">
                <a:solidFill>
                  <a:srgbClr val="FFFFFF"/>
                </a:solidFill>
              </a:rPr>
              <a:t>abokov1.azurewebsites.net</a:t>
            </a:r>
            <a:endParaRPr lang="en-US" dirty="0" smtClean="0">
              <a:solidFill>
                <a:srgbClr val="FFFFFF"/>
              </a:solidFill>
            </a:endParaRPr>
          </a:p>
          <a:p>
            <a:pPr algn="ctr"/>
            <a:endParaRPr lang="en-US" dirty="0" smtClean="0">
              <a:solidFill>
                <a:srgbClr val="FFFFFF"/>
              </a:solidFill>
            </a:endParaRPr>
          </a:p>
        </p:txBody>
      </p:sp>
      <p:sp>
        <p:nvSpPr>
          <p:cNvPr id="30" name="Up Arrow 29"/>
          <p:cNvSpPr/>
          <p:nvPr/>
        </p:nvSpPr>
        <p:spPr>
          <a:xfrm rot="4657260">
            <a:off x="6184677" y="3161357"/>
            <a:ext cx="826527" cy="2414259"/>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sp>
        <p:nvSpPr>
          <p:cNvPr id="31" name="Up Arrow 30"/>
          <p:cNvSpPr/>
          <p:nvPr/>
        </p:nvSpPr>
        <p:spPr>
          <a:xfrm rot="10800000">
            <a:off x="1838613" y="2553198"/>
            <a:ext cx="826527" cy="1680660"/>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pic>
        <p:nvPicPr>
          <p:cNvPr id="33" name="Picture 3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51471" y="314707"/>
            <a:ext cx="3173582" cy="3051521"/>
          </a:xfrm>
          <a:prstGeom prst="rect">
            <a:avLst/>
          </a:prstGeom>
        </p:spPr>
      </p:pic>
      <p:sp>
        <p:nvSpPr>
          <p:cNvPr id="34" name="Up Arrow 33"/>
          <p:cNvSpPr/>
          <p:nvPr/>
        </p:nvSpPr>
        <p:spPr>
          <a:xfrm rot="6662814">
            <a:off x="6070550" y="4547590"/>
            <a:ext cx="826527" cy="2491912"/>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spTree>
    <p:extLst>
      <p:ext uri="{BB962C8B-B14F-4D97-AF65-F5344CB8AC3E}">
        <p14:creationId xmlns:p14="http://schemas.microsoft.com/office/powerpoint/2010/main" val="108060920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title"/>
          </p:nvPr>
        </p:nvSpPr>
        <p:spPr>
          <a:xfrm>
            <a:off x="-1" y="66190"/>
            <a:ext cx="12089081" cy="1260000"/>
          </a:xfrm>
        </p:spPr>
        <p:txBody>
          <a:bodyPr>
            <a:noAutofit/>
          </a:bodyPr>
          <a:lstStyle/>
          <a:p>
            <a:r>
              <a:rPr lang="en-US" sz="4800" b="1" dirty="0" smtClean="0"/>
              <a:t>Use Azure as disaster </a:t>
            </a:r>
            <a:br>
              <a:rPr lang="en-US" sz="4800" b="1" dirty="0" smtClean="0"/>
            </a:br>
            <a:r>
              <a:rPr lang="en-US" sz="4800" b="1" dirty="0" smtClean="0"/>
              <a:t>recovery for your site</a:t>
            </a:r>
            <a:endParaRPr lang="ru-RU" sz="4800" b="1" dirty="0"/>
          </a:p>
        </p:txBody>
      </p:sp>
      <p:sp>
        <p:nvSpPr>
          <p:cNvPr id="6" name="Rectangle 5"/>
          <p:cNvSpPr/>
          <p:nvPr/>
        </p:nvSpPr>
        <p:spPr>
          <a:xfrm>
            <a:off x="345598" y="1638129"/>
            <a:ext cx="4839719" cy="806209"/>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2800" dirty="0" smtClean="0">
                <a:solidFill>
                  <a:srgbClr val="FFFFFF"/>
                </a:solidFill>
              </a:rPr>
              <a:t>www.cloudtechnologies.org</a:t>
            </a:r>
            <a:endParaRPr lang="ru-RU" sz="2800" dirty="0">
              <a:solidFill>
                <a:srgbClr val="FFFFFF"/>
              </a:solidFill>
            </a:endParaRPr>
          </a:p>
        </p:txBody>
      </p:sp>
      <p:sp>
        <p:nvSpPr>
          <p:cNvPr id="11" name="Rectangle 10"/>
          <p:cNvSpPr/>
          <p:nvPr/>
        </p:nvSpPr>
        <p:spPr>
          <a:xfrm>
            <a:off x="-1" y="4342718"/>
            <a:ext cx="5330283" cy="814159"/>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dirty="0" smtClean="0">
                <a:solidFill>
                  <a:srgbClr val="FFFFFF"/>
                </a:solidFill>
              </a:rPr>
              <a:t>msdevtour</a:t>
            </a:r>
            <a:r>
              <a:rPr lang="en-US" dirty="0" smtClean="0">
                <a:solidFill>
                  <a:srgbClr val="FFFFFF"/>
                </a:solidFill>
              </a:rPr>
              <a:t>.trafficmanager.net</a:t>
            </a:r>
            <a:endParaRPr lang="en-US" dirty="0">
              <a:solidFill>
                <a:srgbClr val="FFFFFF"/>
              </a:solidFill>
            </a:endParaRPr>
          </a:p>
          <a:p>
            <a:pPr algn="ctr"/>
            <a:r>
              <a:rPr lang="en-US" dirty="0" smtClean="0">
                <a:solidFill>
                  <a:srgbClr val="FFFFFF"/>
                </a:solidFill>
              </a:rPr>
              <a:t>Mode: </a:t>
            </a:r>
            <a:r>
              <a:rPr lang="en-US" sz="2400" b="1" dirty="0" smtClean="0">
                <a:solidFill>
                  <a:srgbClr val="FFFFFF"/>
                </a:solidFill>
              </a:rPr>
              <a:t>Failover</a:t>
            </a:r>
            <a:endParaRPr lang="ru-RU" sz="2400" b="1" dirty="0">
              <a:solidFill>
                <a:srgbClr val="FFFFFF"/>
              </a:solidFill>
            </a:endParaRPr>
          </a:p>
        </p:txBody>
      </p:sp>
      <p:sp>
        <p:nvSpPr>
          <p:cNvPr id="12" name="Rectangle 11"/>
          <p:cNvSpPr/>
          <p:nvPr/>
        </p:nvSpPr>
        <p:spPr>
          <a:xfrm>
            <a:off x="7953146" y="3780629"/>
            <a:ext cx="4135934" cy="814159"/>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dirty="0" smtClean="0">
                <a:solidFill>
                  <a:srgbClr val="FFFFFF"/>
                </a:solidFill>
              </a:rPr>
              <a:t>Linux VM </a:t>
            </a:r>
            <a:r>
              <a:rPr lang="en-US" dirty="0" smtClean="0">
                <a:solidFill>
                  <a:srgbClr val="FFFFFF"/>
                </a:solidFill>
              </a:rPr>
              <a:t>(</a:t>
            </a:r>
            <a:r>
              <a:rPr lang="en-US" dirty="0"/>
              <a:t>9172.vps.hc.ru</a:t>
            </a:r>
            <a:r>
              <a:rPr lang="en-US" dirty="0" smtClean="0">
                <a:solidFill>
                  <a:srgbClr val="FFFFFF"/>
                </a:solidFill>
              </a:rPr>
              <a:t>  )</a:t>
            </a:r>
            <a:endParaRPr lang="ru-RU" dirty="0">
              <a:solidFill>
                <a:srgbClr val="FFFFFF"/>
              </a:solidFill>
            </a:endParaRPr>
          </a:p>
        </p:txBody>
      </p:sp>
      <p:sp>
        <p:nvSpPr>
          <p:cNvPr id="20" name="Rectangle 19"/>
          <p:cNvSpPr/>
          <p:nvPr/>
        </p:nvSpPr>
        <p:spPr>
          <a:xfrm>
            <a:off x="7795066" y="5596386"/>
            <a:ext cx="3970361" cy="1183010"/>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dirty="0" smtClean="0">
                <a:solidFill>
                  <a:srgbClr val="FFFFFF"/>
                </a:solidFill>
              </a:rPr>
              <a:t>abokov1.azurewebsites.net</a:t>
            </a:r>
            <a:endParaRPr lang="en-US" dirty="0" smtClean="0">
              <a:solidFill>
                <a:srgbClr val="FFFFFF"/>
              </a:solidFill>
            </a:endParaRPr>
          </a:p>
        </p:txBody>
      </p:sp>
      <p:sp>
        <p:nvSpPr>
          <p:cNvPr id="2" name="Up Arrow 1"/>
          <p:cNvSpPr/>
          <p:nvPr/>
        </p:nvSpPr>
        <p:spPr>
          <a:xfrm rot="6380392">
            <a:off x="6059447" y="4521093"/>
            <a:ext cx="826527" cy="2660714"/>
          </a:xfrm>
          <a:prstGeom prst="upArrow">
            <a:avLst/>
          </a:prstGeom>
          <a:pattFill prst="dotGrid">
            <a:fgClr>
              <a:schemeClr val="accent1"/>
            </a:fgClr>
            <a:bgClr>
              <a:schemeClr val="bg1"/>
            </a:bgClr>
          </a:pattFill>
          <a:ln w="25400">
            <a:solidFill>
              <a:schemeClr val="accent1">
                <a:shade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sp>
        <p:nvSpPr>
          <p:cNvPr id="13" name="Up Arrow 12"/>
          <p:cNvSpPr/>
          <p:nvPr/>
        </p:nvSpPr>
        <p:spPr>
          <a:xfrm rot="4657260">
            <a:off x="6184677" y="3161357"/>
            <a:ext cx="826527" cy="2414259"/>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sp>
        <p:nvSpPr>
          <p:cNvPr id="15" name="Up Arrow 14"/>
          <p:cNvSpPr/>
          <p:nvPr/>
        </p:nvSpPr>
        <p:spPr>
          <a:xfrm rot="10800000">
            <a:off x="1838613" y="2553198"/>
            <a:ext cx="826527" cy="1680660"/>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pic>
        <p:nvPicPr>
          <p:cNvPr id="16" name="Picture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05570" y="91230"/>
            <a:ext cx="5323298" cy="3210110"/>
          </a:xfrm>
          <a:prstGeom prst="rect">
            <a:avLst/>
          </a:prstGeom>
        </p:spPr>
      </p:pic>
    </p:spTree>
    <p:extLst>
      <p:ext uri="{BB962C8B-B14F-4D97-AF65-F5344CB8AC3E}">
        <p14:creationId xmlns:p14="http://schemas.microsoft.com/office/powerpoint/2010/main" val="36068288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600" y="345800"/>
            <a:ext cx="10297800" cy="720000"/>
          </a:xfrm>
        </p:spPr>
        <p:txBody>
          <a:bodyPr/>
          <a:lstStyle/>
          <a:p>
            <a:r>
              <a:rPr lang="en-US" dirty="0" smtClean="0"/>
              <a:t>How to create?</a:t>
            </a:r>
            <a:endParaRPr lang="ru-RU" dirty="0"/>
          </a:p>
        </p:txBody>
      </p:sp>
      <p:sp>
        <p:nvSpPr>
          <p:cNvPr id="3" name="TextBox 2"/>
          <p:cNvSpPr txBox="1"/>
          <p:nvPr/>
        </p:nvSpPr>
        <p:spPr>
          <a:xfrm>
            <a:off x="395600" y="1065800"/>
            <a:ext cx="8623300" cy="646331"/>
          </a:xfrm>
          <a:prstGeom prst="rect">
            <a:avLst/>
          </a:prstGeom>
          <a:noFill/>
        </p:spPr>
        <p:txBody>
          <a:bodyPr wrap="square" rtlCol="0">
            <a:spAutoFit/>
          </a:bodyPr>
          <a:lstStyle/>
          <a:p>
            <a:r>
              <a:rPr lang="en-US" dirty="0" smtClean="0"/>
              <a:t>Install Microsoft Azure </a:t>
            </a:r>
            <a:r>
              <a:rPr lang="en-US" dirty="0" err="1" smtClean="0"/>
              <a:t>Powershell</a:t>
            </a:r>
            <a:endParaRPr lang="en-US" dirty="0" smtClean="0"/>
          </a:p>
          <a:p>
            <a:r>
              <a:rPr lang="en-US" dirty="0" smtClean="0"/>
              <a:t>Add-</a:t>
            </a:r>
            <a:r>
              <a:rPr lang="en-US" dirty="0" err="1" smtClean="0"/>
              <a:t>AzureAccount</a:t>
            </a:r>
            <a:endParaRPr lang="ru-RU" dirty="0"/>
          </a:p>
        </p:txBody>
      </p:sp>
      <p:sp>
        <p:nvSpPr>
          <p:cNvPr id="4" name="TextBox 3"/>
          <p:cNvSpPr txBox="1"/>
          <p:nvPr/>
        </p:nvSpPr>
        <p:spPr>
          <a:xfrm>
            <a:off x="395600" y="2171700"/>
            <a:ext cx="13661369" cy="2954655"/>
          </a:xfrm>
          <a:prstGeom prst="rect">
            <a:avLst/>
          </a:prstGeom>
          <a:noFill/>
        </p:spPr>
        <p:txBody>
          <a:bodyPr wrap="none" rtlCol="0">
            <a:spAutoFit/>
          </a:bodyPr>
          <a:lstStyle/>
          <a:p>
            <a:r>
              <a:rPr lang="en-US" sz="2000" b="1" i="1" dirty="0"/>
              <a:t>PS C:\&gt; Import-</a:t>
            </a:r>
            <a:r>
              <a:rPr lang="en-US" sz="2000" b="1" i="1" dirty="0" err="1"/>
              <a:t>AzurePublishSettingsFile</a:t>
            </a:r>
            <a:r>
              <a:rPr lang="en-US" sz="2000" b="1" i="1" dirty="0"/>
              <a:t> C:\tools\azure\my_settings_21_04_2015.publishsettings</a:t>
            </a:r>
          </a:p>
          <a:p>
            <a:r>
              <a:rPr lang="en-US" sz="2000" b="1" i="1" dirty="0"/>
              <a:t>VERBOSE: Setting: </a:t>
            </a:r>
            <a:r>
              <a:rPr lang="en-US" sz="2000" b="1" i="1" dirty="0" err="1"/>
              <a:t>Microsoft.Azure.Common.Authentication.Models.AzureSubscription</a:t>
            </a:r>
            <a:r>
              <a:rPr lang="en-US" sz="2000" b="1" i="1" dirty="0"/>
              <a:t> as the default and current</a:t>
            </a:r>
          </a:p>
          <a:p>
            <a:r>
              <a:rPr lang="en-US" sz="2000" b="1" i="1" dirty="0"/>
              <a:t>subscription. To view other subscriptions use Get-</a:t>
            </a:r>
            <a:r>
              <a:rPr lang="en-US" sz="2000" b="1" i="1" dirty="0" err="1"/>
              <a:t>AzureSubscription</a:t>
            </a:r>
            <a:endParaRPr lang="en-US" sz="2000" b="1" i="1" dirty="0"/>
          </a:p>
          <a:p>
            <a:endParaRPr lang="en-US" dirty="0"/>
          </a:p>
          <a:p>
            <a:endParaRPr lang="en-US" dirty="0"/>
          </a:p>
          <a:p>
            <a:r>
              <a:rPr lang="en-US" dirty="0"/>
              <a:t>Id          : </a:t>
            </a:r>
            <a:r>
              <a:rPr lang="en-US" dirty="0" smtClean="0"/>
              <a:t>f9f107-45be-aeee-d6642424d</a:t>
            </a:r>
            <a:endParaRPr lang="en-US" dirty="0"/>
          </a:p>
          <a:p>
            <a:r>
              <a:rPr lang="en-US" dirty="0"/>
              <a:t>Name        : Windows Azure MSDN - Visual Studio Ultimate</a:t>
            </a:r>
          </a:p>
          <a:p>
            <a:r>
              <a:rPr lang="en-US" dirty="0"/>
              <a:t>Environment : </a:t>
            </a:r>
            <a:r>
              <a:rPr lang="en-US" dirty="0" err="1"/>
              <a:t>AzureCloud</a:t>
            </a:r>
            <a:endParaRPr lang="en-US" dirty="0"/>
          </a:p>
          <a:p>
            <a:r>
              <a:rPr lang="en-US" dirty="0"/>
              <a:t>Account     : </a:t>
            </a:r>
            <a:r>
              <a:rPr lang="en-US" dirty="0" smtClean="0"/>
              <a:t>26BB164EFFFFFFFFFFO884433907093426575AAA947</a:t>
            </a:r>
            <a:endParaRPr lang="en-US" dirty="0"/>
          </a:p>
          <a:p>
            <a:r>
              <a:rPr lang="en-US" dirty="0"/>
              <a:t>Properties  : {[</a:t>
            </a:r>
            <a:r>
              <a:rPr lang="en-US" dirty="0" err="1"/>
              <a:t>SupportedModes</a:t>
            </a:r>
            <a:r>
              <a:rPr lang="en-US" dirty="0"/>
              <a:t>, </a:t>
            </a:r>
            <a:r>
              <a:rPr lang="en-US" dirty="0" err="1"/>
              <a:t>AzureServiceManagement</a:t>
            </a:r>
            <a:r>
              <a:rPr lang="en-US" dirty="0"/>
              <a:t>], [Default, True]}</a:t>
            </a:r>
            <a:endParaRPr lang="ru-RU" dirty="0"/>
          </a:p>
        </p:txBody>
      </p:sp>
    </p:spTree>
    <p:extLst>
      <p:ext uri="{BB962C8B-B14F-4D97-AF65-F5344CB8AC3E}">
        <p14:creationId xmlns:p14="http://schemas.microsoft.com/office/powerpoint/2010/main" val="925181419"/>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600" y="345800"/>
            <a:ext cx="10297800" cy="720000"/>
          </a:xfrm>
        </p:spPr>
        <p:txBody>
          <a:bodyPr/>
          <a:lstStyle/>
          <a:p>
            <a:r>
              <a:rPr lang="en-US" dirty="0" smtClean="0"/>
              <a:t>Create new traffic manager profile</a:t>
            </a:r>
            <a:endParaRPr lang="ru-RU" dirty="0"/>
          </a:p>
        </p:txBody>
      </p:sp>
      <p:sp>
        <p:nvSpPr>
          <p:cNvPr id="4" name="TextBox 3"/>
          <p:cNvSpPr txBox="1"/>
          <p:nvPr/>
        </p:nvSpPr>
        <p:spPr>
          <a:xfrm>
            <a:off x="116820" y="1390805"/>
            <a:ext cx="12256689" cy="3970318"/>
          </a:xfrm>
          <a:prstGeom prst="rect">
            <a:avLst/>
          </a:prstGeom>
          <a:noFill/>
        </p:spPr>
        <p:txBody>
          <a:bodyPr wrap="none" rtlCol="0">
            <a:spAutoFit/>
          </a:bodyPr>
          <a:lstStyle/>
          <a:p>
            <a:r>
              <a:rPr lang="en-US" b="1" i="1" dirty="0"/>
              <a:t>PS C:\&gt; New-</a:t>
            </a:r>
            <a:r>
              <a:rPr lang="en-US" b="1" i="1" dirty="0" err="1"/>
              <a:t>AzureTrafficManagerProfile</a:t>
            </a:r>
            <a:r>
              <a:rPr lang="en-US" b="1" i="1" dirty="0"/>
              <a:t> -Name </a:t>
            </a:r>
            <a:r>
              <a:rPr lang="en-US" b="1" i="1" dirty="0" err="1"/>
              <a:t>msdevtour</a:t>
            </a:r>
            <a:r>
              <a:rPr lang="en-US" b="1" i="1" dirty="0"/>
              <a:t> -</a:t>
            </a:r>
            <a:r>
              <a:rPr lang="en-US" b="1" i="1" dirty="0" err="1"/>
              <a:t>DomainName</a:t>
            </a:r>
            <a:r>
              <a:rPr lang="en-US" b="1" i="1" dirty="0"/>
              <a:t> </a:t>
            </a:r>
            <a:r>
              <a:rPr lang="en-US" b="1" i="1" dirty="0" smtClean="0"/>
              <a:t>msdevtour.trafficmanager.net</a:t>
            </a:r>
          </a:p>
          <a:p>
            <a:r>
              <a:rPr lang="en-US" b="1" i="1" dirty="0" smtClean="0"/>
              <a:t> </a:t>
            </a:r>
            <a:r>
              <a:rPr lang="en-US" b="1" i="1" dirty="0"/>
              <a:t>-</a:t>
            </a:r>
            <a:r>
              <a:rPr lang="en-US" b="1" i="1" dirty="0" err="1"/>
              <a:t>LoadBalancingMethod</a:t>
            </a:r>
            <a:r>
              <a:rPr lang="en-US" b="1" i="1" dirty="0"/>
              <a:t> </a:t>
            </a:r>
            <a:r>
              <a:rPr lang="en-US" b="1" i="1" dirty="0" err="1"/>
              <a:t>RoundRobin</a:t>
            </a:r>
            <a:r>
              <a:rPr lang="en-US" b="1" i="1" dirty="0"/>
              <a:t> -</a:t>
            </a:r>
            <a:r>
              <a:rPr lang="en-US" b="1" i="1" dirty="0" err="1"/>
              <a:t>MonitorPort</a:t>
            </a:r>
            <a:r>
              <a:rPr lang="en-US" b="1" i="1" dirty="0"/>
              <a:t> 80 -</a:t>
            </a:r>
            <a:r>
              <a:rPr lang="en-US" b="1" i="1" dirty="0" err="1"/>
              <a:t>MonitorProtocol</a:t>
            </a:r>
            <a:r>
              <a:rPr lang="en-US" b="1" i="1" dirty="0"/>
              <a:t> Http -</a:t>
            </a:r>
            <a:r>
              <a:rPr lang="en-US" b="1" i="1" dirty="0" err="1"/>
              <a:t>MonitorRelativePath</a:t>
            </a:r>
            <a:r>
              <a:rPr lang="en-US" b="1" i="1" dirty="0"/>
              <a:t> "/" -</a:t>
            </a:r>
            <a:r>
              <a:rPr lang="en-US" b="1" i="1" dirty="0" err="1"/>
              <a:t>Ttl</a:t>
            </a:r>
            <a:r>
              <a:rPr lang="en-US" b="1" i="1" dirty="0"/>
              <a:t> 300</a:t>
            </a:r>
          </a:p>
          <a:p>
            <a:endParaRPr lang="en-US" dirty="0"/>
          </a:p>
          <a:p>
            <a:endParaRPr lang="en-US" dirty="0"/>
          </a:p>
          <a:p>
            <a:r>
              <a:rPr lang="en-US" dirty="0" err="1"/>
              <a:t>TimeToLiveInSeconds</a:t>
            </a:r>
            <a:r>
              <a:rPr lang="en-US" dirty="0"/>
              <a:t> : 300</a:t>
            </a:r>
          </a:p>
          <a:p>
            <a:r>
              <a:rPr lang="en-US" dirty="0" err="1"/>
              <a:t>MonitorRelativePath</a:t>
            </a:r>
            <a:r>
              <a:rPr lang="en-US" dirty="0"/>
              <a:t> : /</a:t>
            </a:r>
          </a:p>
          <a:p>
            <a:r>
              <a:rPr lang="en-US" dirty="0" err="1"/>
              <a:t>MonitorPort</a:t>
            </a:r>
            <a:r>
              <a:rPr lang="en-US" dirty="0"/>
              <a:t>         : 80</a:t>
            </a:r>
          </a:p>
          <a:p>
            <a:r>
              <a:rPr lang="en-US" dirty="0" err="1"/>
              <a:t>MonitorProtocol</a:t>
            </a:r>
            <a:r>
              <a:rPr lang="en-US" dirty="0"/>
              <a:t>     : Http</a:t>
            </a:r>
          </a:p>
          <a:p>
            <a:r>
              <a:rPr lang="en-US" dirty="0" err="1"/>
              <a:t>LoadBalancingMethod</a:t>
            </a:r>
            <a:r>
              <a:rPr lang="en-US" dirty="0"/>
              <a:t> : </a:t>
            </a:r>
            <a:r>
              <a:rPr lang="en-US" dirty="0" err="1"/>
              <a:t>RoundRobin</a:t>
            </a:r>
            <a:endParaRPr lang="en-US" dirty="0"/>
          </a:p>
          <a:p>
            <a:r>
              <a:rPr lang="en-US" dirty="0"/>
              <a:t>Endpoints           : {}</a:t>
            </a:r>
          </a:p>
          <a:p>
            <a:r>
              <a:rPr lang="en-US" dirty="0" err="1"/>
              <a:t>MonitorStatus</a:t>
            </a:r>
            <a:r>
              <a:rPr lang="en-US" dirty="0"/>
              <a:t>       : Inactive</a:t>
            </a:r>
          </a:p>
          <a:p>
            <a:r>
              <a:rPr lang="en-US" dirty="0"/>
              <a:t>Name                : </a:t>
            </a:r>
            <a:r>
              <a:rPr lang="en-US" dirty="0" err="1"/>
              <a:t>msdevtour</a:t>
            </a:r>
            <a:endParaRPr lang="en-US" dirty="0"/>
          </a:p>
          <a:p>
            <a:r>
              <a:rPr lang="en-US" dirty="0" err="1"/>
              <a:t>DomainName</a:t>
            </a:r>
            <a:r>
              <a:rPr lang="en-US" dirty="0"/>
              <a:t>          : msdevtour.trafficmanager.net</a:t>
            </a:r>
          </a:p>
          <a:p>
            <a:r>
              <a:rPr lang="en-US" dirty="0"/>
              <a:t>Status              : Enabled</a:t>
            </a:r>
            <a:endParaRPr lang="ru-RU" dirty="0"/>
          </a:p>
        </p:txBody>
      </p:sp>
    </p:spTree>
    <p:extLst>
      <p:ext uri="{BB962C8B-B14F-4D97-AF65-F5344CB8AC3E}">
        <p14:creationId xmlns:p14="http://schemas.microsoft.com/office/powerpoint/2010/main" val="1182215104"/>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600" y="345800"/>
            <a:ext cx="10297800" cy="720000"/>
          </a:xfrm>
        </p:spPr>
        <p:txBody>
          <a:bodyPr/>
          <a:lstStyle/>
          <a:p>
            <a:r>
              <a:rPr lang="en-US" dirty="0" smtClean="0"/>
              <a:t>Create new traffic manager profile</a:t>
            </a:r>
            <a:endParaRPr lang="ru-RU" dirty="0"/>
          </a:p>
        </p:txBody>
      </p:sp>
      <p:sp>
        <p:nvSpPr>
          <p:cNvPr id="4" name="TextBox 3"/>
          <p:cNvSpPr txBox="1"/>
          <p:nvPr/>
        </p:nvSpPr>
        <p:spPr>
          <a:xfrm>
            <a:off x="570881" y="1065800"/>
            <a:ext cx="7589706" cy="4001095"/>
          </a:xfrm>
          <a:prstGeom prst="rect">
            <a:avLst/>
          </a:prstGeom>
          <a:noFill/>
        </p:spPr>
        <p:txBody>
          <a:bodyPr wrap="none" rtlCol="0">
            <a:spAutoFit/>
          </a:bodyPr>
          <a:lstStyle/>
          <a:p>
            <a:r>
              <a:rPr lang="en-US" sz="2000" b="1" i="1" dirty="0"/>
              <a:t>PS C:\&gt; $profile = Get-</a:t>
            </a:r>
            <a:r>
              <a:rPr lang="en-US" sz="2000" b="1" i="1" dirty="0" err="1"/>
              <a:t>AzureTrafficManagerProfile</a:t>
            </a:r>
            <a:r>
              <a:rPr lang="en-US" sz="2000" b="1" i="1" dirty="0"/>
              <a:t> </a:t>
            </a:r>
            <a:r>
              <a:rPr lang="en-US" sz="2000" b="1" i="1" dirty="0" err="1"/>
              <a:t>msdevtour</a:t>
            </a:r>
            <a:endParaRPr lang="en-US" sz="2000" b="1" i="1" dirty="0"/>
          </a:p>
          <a:p>
            <a:r>
              <a:rPr lang="en-US" sz="2000" b="1" i="1" dirty="0"/>
              <a:t>PS C:\&gt; $profile</a:t>
            </a:r>
          </a:p>
          <a:p>
            <a:endParaRPr lang="en-US" dirty="0"/>
          </a:p>
          <a:p>
            <a:endParaRPr lang="en-US" dirty="0"/>
          </a:p>
          <a:p>
            <a:r>
              <a:rPr lang="en-US" dirty="0" err="1"/>
              <a:t>TimeToLiveInSeconds</a:t>
            </a:r>
            <a:r>
              <a:rPr lang="en-US" dirty="0"/>
              <a:t> : 300</a:t>
            </a:r>
          </a:p>
          <a:p>
            <a:r>
              <a:rPr lang="en-US" dirty="0" err="1"/>
              <a:t>MonitorRelativePath</a:t>
            </a:r>
            <a:r>
              <a:rPr lang="en-US" dirty="0"/>
              <a:t> : /</a:t>
            </a:r>
          </a:p>
          <a:p>
            <a:r>
              <a:rPr lang="en-US" dirty="0" err="1"/>
              <a:t>MonitorPort</a:t>
            </a:r>
            <a:r>
              <a:rPr lang="en-US" dirty="0"/>
              <a:t>         : 80</a:t>
            </a:r>
          </a:p>
          <a:p>
            <a:r>
              <a:rPr lang="en-US" dirty="0" err="1"/>
              <a:t>MonitorProtocol</a:t>
            </a:r>
            <a:r>
              <a:rPr lang="en-US" dirty="0"/>
              <a:t>     : Http</a:t>
            </a:r>
          </a:p>
          <a:p>
            <a:r>
              <a:rPr lang="en-US" dirty="0" err="1"/>
              <a:t>LoadBalancingMethod</a:t>
            </a:r>
            <a:r>
              <a:rPr lang="en-US" dirty="0"/>
              <a:t> : </a:t>
            </a:r>
            <a:r>
              <a:rPr lang="en-US" dirty="0" err="1"/>
              <a:t>RoundRobin</a:t>
            </a:r>
            <a:endParaRPr lang="en-US" dirty="0"/>
          </a:p>
          <a:p>
            <a:r>
              <a:rPr lang="en-US" dirty="0"/>
              <a:t>Endpoints           : {}</a:t>
            </a:r>
          </a:p>
          <a:p>
            <a:r>
              <a:rPr lang="en-US" dirty="0" err="1"/>
              <a:t>MonitorStatus</a:t>
            </a:r>
            <a:r>
              <a:rPr lang="en-US" dirty="0"/>
              <a:t>       : Inactive</a:t>
            </a:r>
          </a:p>
          <a:p>
            <a:r>
              <a:rPr lang="en-US" dirty="0"/>
              <a:t>Name                : </a:t>
            </a:r>
            <a:r>
              <a:rPr lang="en-US" dirty="0" err="1"/>
              <a:t>msdevtour</a:t>
            </a:r>
            <a:endParaRPr lang="en-US" dirty="0"/>
          </a:p>
          <a:p>
            <a:r>
              <a:rPr lang="en-US" dirty="0" err="1"/>
              <a:t>DomainName</a:t>
            </a:r>
            <a:r>
              <a:rPr lang="en-US" dirty="0"/>
              <a:t>          : msdevtour.trafficmanager.net</a:t>
            </a:r>
          </a:p>
          <a:p>
            <a:r>
              <a:rPr lang="en-US" dirty="0"/>
              <a:t>Status              : Enabled</a:t>
            </a:r>
            <a:endParaRPr lang="ru-RU" dirty="0"/>
          </a:p>
        </p:txBody>
      </p:sp>
    </p:spTree>
    <p:extLst>
      <p:ext uri="{BB962C8B-B14F-4D97-AF65-F5344CB8AC3E}">
        <p14:creationId xmlns:p14="http://schemas.microsoft.com/office/powerpoint/2010/main" val="462073114"/>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600" y="345800"/>
            <a:ext cx="10297800" cy="720000"/>
          </a:xfrm>
        </p:spPr>
        <p:txBody>
          <a:bodyPr/>
          <a:lstStyle/>
          <a:p>
            <a:r>
              <a:rPr lang="en-US" dirty="0" smtClean="0"/>
              <a:t>Create new traffic manager profile</a:t>
            </a:r>
            <a:endParaRPr lang="ru-RU" dirty="0"/>
          </a:p>
        </p:txBody>
      </p:sp>
      <p:sp>
        <p:nvSpPr>
          <p:cNvPr id="4" name="TextBox 3"/>
          <p:cNvSpPr txBox="1"/>
          <p:nvPr/>
        </p:nvSpPr>
        <p:spPr>
          <a:xfrm>
            <a:off x="1206500" y="1244600"/>
            <a:ext cx="6889386" cy="3970318"/>
          </a:xfrm>
          <a:prstGeom prst="rect">
            <a:avLst/>
          </a:prstGeom>
          <a:noFill/>
        </p:spPr>
        <p:txBody>
          <a:bodyPr wrap="none" rtlCol="0">
            <a:spAutoFit/>
          </a:bodyPr>
          <a:lstStyle/>
          <a:p>
            <a:r>
              <a:rPr lang="en-US" b="1" i="1" dirty="0"/>
              <a:t>PS C:\&gt; $profile = Get-</a:t>
            </a:r>
            <a:r>
              <a:rPr lang="en-US" b="1" i="1" dirty="0" err="1"/>
              <a:t>AzureTrafficManagerProfile</a:t>
            </a:r>
            <a:r>
              <a:rPr lang="en-US" b="1" i="1" dirty="0"/>
              <a:t> </a:t>
            </a:r>
            <a:r>
              <a:rPr lang="en-US" b="1" i="1" dirty="0" err="1"/>
              <a:t>msdevtour</a:t>
            </a:r>
            <a:endParaRPr lang="en-US" b="1" i="1" dirty="0"/>
          </a:p>
          <a:p>
            <a:r>
              <a:rPr lang="en-US" b="1" i="1" dirty="0"/>
              <a:t>PS C:\&gt; $profile</a:t>
            </a:r>
          </a:p>
          <a:p>
            <a:endParaRPr lang="en-US" dirty="0"/>
          </a:p>
          <a:p>
            <a:endParaRPr lang="en-US" dirty="0"/>
          </a:p>
          <a:p>
            <a:r>
              <a:rPr lang="en-US" dirty="0" err="1"/>
              <a:t>TimeToLiveInSeconds</a:t>
            </a:r>
            <a:r>
              <a:rPr lang="en-US" dirty="0"/>
              <a:t> : 300</a:t>
            </a:r>
          </a:p>
          <a:p>
            <a:r>
              <a:rPr lang="en-US" dirty="0" err="1"/>
              <a:t>MonitorRelativePath</a:t>
            </a:r>
            <a:r>
              <a:rPr lang="en-US" dirty="0"/>
              <a:t> : /</a:t>
            </a:r>
          </a:p>
          <a:p>
            <a:r>
              <a:rPr lang="en-US" dirty="0" err="1"/>
              <a:t>MonitorPort</a:t>
            </a:r>
            <a:r>
              <a:rPr lang="en-US" dirty="0"/>
              <a:t>         : 80</a:t>
            </a:r>
          </a:p>
          <a:p>
            <a:r>
              <a:rPr lang="en-US" dirty="0" err="1"/>
              <a:t>MonitorProtocol</a:t>
            </a:r>
            <a:r>
              <a:rPr lang="en-US" dirty="0"/>
              <a:t>     : Http</a:t>
            </a:r>
          </a:p>
          <a:p>
            <a:r>
              <a:rPr lang="en-US" dirty="0" err="1"/>
              <a:t>LoadBalancingMethod</a:t>
            </a:r>
            <a:r>
              <a:rPr lang="en-US" dirty="0"/>
              <a:t> : </a:t>
            </a:r>
            <a:r>
              <a:rPr lang="en-US" dirty="0" err="1"/>
              <a:t>RoundRobin</a:t>
            </a:r>
            <a:endParaRPr lang="en-US" dirty="0"/>
          </a:p>
          <a:p>
            <a:r>
              <a:rPr lang="en-US" dirty="0"/>
              <a:t>Endpoints           : {}</a:t>
            </a:r>
          </a:p>
          <a:p>
            <a:r>
              <a:rPr lang="en-US" dirty="0" err="1"/>
              <a:t>MonitorStatus</a:t>
            </a:r>
            <a:r>
              <a:rPr lang="en-US" dirty="0"/>
              <a:t>       : Inactive</a:t>
            </a:r>
          </a:p>
          <a:p>
            <a:r>
              <a:rPr lang="en-US" dirty="0"/>
              <a:t>Name                : </a:t>
            </a:r>
            <a:r>
              <a:rPr lang="en-US" dirty="0" err="1"/>
              <a:t>msdevtour</a:t>
            </a:r>
            <a:endParaRPr lang="en-US" dirty="0"/>
          </a:p>
          <a:p>
            <a:r>
              <a:rPr lang="en-US" dirty="0" err="1"/>
              <a:t>DomainName</a:t>
            </a:r>
            <a:r>
              <a:rPr lang="en-US" dirty="0"/>
              <a:t>          : msdevtour.trafficmanager.net</a:t>
            </a:r>
          </a:p>
          <a:p>
            <a:r>
              <a:rPr lang="en-US" dirty="0"/>
              <a:t>Status              : Enabled</a:t>
            </a:r>
            <a:endParaRPr lang="ru-RU" dirty="0"/>
          </a:p>
        </p:txBody>
      </p:sp>
    </p:spTree>
    <p:extLst>
      <p:ext uri="{BB962C8B-B14F-4D97-AF65-F5344CB8AC3E}">
        <p14:creationId xmlns:p14="http://schemas.microsoft.com/office/powerpoint/2010/main" val="373570245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1" name="TextBox 40"/>
          <p:cNvSpPr txBox="1"/>
          <p:nvPr/>
        </p:nvSpPr>
        <p:spPr>
          <a:xfrm>
            <a:off x="1669409" y="173654"/>
            <a:ext cx="9203864" cy="1231106"/>
          </a:xfrm>
          <a:prstGeom prst="rect">
            <a:avLst/>
          </a:prstGeom>
          <a:noFill/>
        </p:spPr>
        <p:txBody>
          <a:bodyPr wrap="square" lIns="0" tIns="0" rIns="0" bIns="0" rtlCol="0">
            <a:spAutoFit/>
          </a:bodyPr>
          <a:lstStyle/>
          <a:p>
            <a:pPr defTabSz="912813" fontAlgn="base">
              <a:spcBef>
                <a:spcPct val="0"/>
              </a:spcBef>
              <a:spcAft>
                <a:spcPct val="0"/>
              </a:spcAft>
            </a:pPr>
            <a:r>
              <a:rPr lang="ru-RU" sz="4000" dirty="0">
                <a:gradFill>
                  <a:gsLst>
                    <a:gs pos="0">
                      <a:srgbClr val="292929"/>
                    </a:gs>
                    <a:gs pos="86000">
                      <a:srgbClr val="292929"/>
                    </a:gs>
                  </a:gsLst>
                  <a:lin ang="5400000" scaled="0"/>
                </a:gradFill>
                <a:effectLst>
                  <a:outerShdw blurRad="38100" dist="38100" dir="2700000" algn="tl">
                    <a:srgbClr val="000000">
                      <a:alpha val="43137"/>
                    </a:srgbClr>
                  </a:outerShdw>
                </a:effectLst>
                <a:cs typeface="Arial" charset="0"/>
              </a:rPr>
              <a:t>Сценарий</a:t>
            </a:r>
            <a:r>
              <a:rPr lang="en-US" sz="4000" dirty="0">
                <a:gradFill>
                  <a:gsLst>
                    <a:gs pos="0">
                      <a:srgbClr val="292929"/>
                    </a:gs>
                    <a:gs pos="86000">
                      <a:srgbClr val="292929"/>
                    </a:gs>
                  </a:gsLst>
                  <a:lin ang="5400000" scaled="0"/>
                </a:gradFill>
                <a:effectLst>
                  <a:outerShdw blurRad="38100" dist="38100" dir="2700000" algn="tl">
                    <a:srgbClr val="000000">
                      <a:alpha val="43137"/>
                    </a:srgbClr>
                  </a:outerShdw>
                </a:effectLst>
                <a:cs typeface="Arial" charset="0"/>
              </a:rPr>
              <a:t>:</a:t>
            </a:r>
            <a:r>
              <a:rPr lang="ru-RU" sz="4000" dirty="0">
                <a:gradFill>
                  <a:gsLst>
                    <a:gs pos="0">
                      <a:srgbClr val="292929"/>
                    </a:gs>
                    <a:gs pos="86000">
                      <a:srgbClr val="292929"/>
                    </a:gs>
                  </a:gsLst>
                  <a:lin ang="5400000" scaled="0"/>
                </a:gradFill>
                <a:effectLst>
                  <a:outerShdw blurRad="38100" dist="38100" dir="2700000" algn="tl">
                    <a:srgbClr val="000000">
                      <a:alpha val="43137"/>
                    </a:srgbClr>
                  </a:outerShdw>
                </a:effectLst>
                <a:cs typeface="Arial" charset="0"/>
              </a:rPr>
              <a:t> </a:t>
            </a:r>
            <a:r>
              <a:rPr lang="ru-RU" sz="3600" dirty="0">
                <a:gradFill>
                  <a:gsLst>
                    <a:gs pos="0">
                      <a:srgbClr val="292929"/>
                    </a:gs>
                    <a:gs pos="86000">
                      <a:srgbClr val="292929"/>
                    </a:gs>
                  </a:gsLst>
                  <a:lin ang="5400000" scaled="0"/>
                </a:gradFill>
                <a:effectLst>
                  <a:outerShdw blurRad="38100" dist="38100" dir="2700000" algn="tl">
                    <a:srgbClr val="000000">
                      <a:alpha val="43137"/>
                    </a:srgbClr>
                  </a:outerShdw>
                </a:effectLst>
                <a:cs typeface="Arial" charset="0"/>
              </a:rPr>
              <a:t>изменение нагрузки за сутки </a:t>
            </a:r>
          </a:p>
          <a:p>
            <a:pPr defTabSz="912813" fontAlgn="base">
              <a:spcBef>
                <a:spcPct val="0"/>
              </a:spcBef>
              <a:spcAft>
                <a:spcPct val="0"/>
              </a:spcAft>
            </a:pPr>
            <a:endParaRPr lang="en-US" sz="4000" dirty="0" err="1">
              <a:gradFill>
                <a:gsLst>
                  <a:gs pos="0">
                    <a:srgbClr val="292929"/>
                  </a:gs>
                  <a:gs pos="86000">
                    <a:srgbClr val="292929"/>
                  </a:gs>
                </a:gsLst>
                <a:lin ang="5400000" scaled="0"/>
              </a:gradFill>
              <a:effectLst>
                <a:outerShdw blurRad="38100" dist="38100" dir="2700000" algn="tl">
                  <a:srgbClr val="000000">
                    <a:alpha val="43137"/>
                  </a:srgbClr>
                </a:outerShdw>
              </a:effectLst>
              <a:cs typeface="Arial" charset="0"/>
            </a:endParaRPr>
          </a:p>
        </p:txBody>
      </p:sp>
      <p:graphicFrame>
        <p:nvGraphicFramePr>
          <p:cNvPr id="42" name="Chart 41"/>
          <p:cNvGraphicFramePr>
            <a:graphicFrameLocks noChangeAspect="1"/>
          </p:cNvGraphicFramePr>
          <p:nvPr>
            <p:extLst/>
          </p:nvPr>
        </p:nvGraphicFramePr>
        <p:xfrm>
          <a:off x="2195921" y="2773635"/>
          <a:ext cx="7168864" cy="2992125"/>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p:cNvSpPr txBox="1"/>
          <p:nvPr/>
        </p:nvSpPr>
        <p:spPr>
          <a:xfrm>
            <a:off x="1856600" y="1650981"/>
            <a:ext cx="7905751" cy="738664"/>
          </a:xfrm>
          <a:prstGeom prst="rect">
            <a:avLst/>
          </a:prstGeom>
          <a:noFill/>
        </p:spPr>
        <p:txBody>
          <a:bodyPr wrap="square" lIns="0" tIns="0" rIns="0" bIns="0" rtlCol="0">
            <a:spAutoFit/>
          </a:bodyPr>
          <a:lstStyle/>
          <a:p>
            <a:pPr defTabSz="912813" fontAlgn="base">
              <a:spcBef>
                <a:spcPct val="0"/>
              </a:spcBef>
              <a:spcAft>
                <a:spcPct val="0"/>
              </a:spcAft>
            </a:pPr>
            <a:r>
              <a:rPr lang="ru-RU" sz="2400" dirty="0">
                <a:gradFill>
                  <a:gsLst>
                    <a:gs pos="0">
                      <a:srgbClr val="292929"/>
                    </a:gs>
                    <a:gs pos="86000">
                      <a:srgbClr val="292929"/>
                    </a:gs>
                  </a:gsLst>
                  <a:lin ang="5400000" scaled="0"/>
                </a:gradFill>
                <a:cs typeface="Arial" charset="0"/>
              </a:rPr>
              <a:t>Распределение нагрузки на </a:t>
            </a:r>
            <a:r>
              <a:rPr lang="en-US" sz="2400" dirty="0">
                <a:gradFill>
                  <a:gsLst>
                    <a:gs pos="0">
                      <a:srgbClr val="292929"/>
                    </a:gs>
                    <a:gs pos="86000">
                      <a:srgbClr val="292929"/>
                    </a:gs>
                  </a:gsLst>
                  <a:lin ang="5400000" scaled="0"/>
                </a:gradFill>
                <a:cs typeface="Arial" charset="0"/>
              </a:rPr>
              <a:t>Bing</a:t>
            </a:r>
            <a:r>
              <a:rPr lang="ru-RU" sz="2400" dirty="0">
                <a:gradFill>
                  <a:gsLst>
                    <a:gs pos="0">
                      <a:srgbClr val="292929"/>
                    </a:gs>
                    <a:gs pos="86000">
                      <a:srgbClr val="292929"/>
                    </a:gs>
                  </a:gsLst>
                  <a:lin ang="5400000" scaled="0"/>
                </a:gradFill>
                <a:cs typeface="Arial" charset="0"/>
              </a:rPr>
              <a:t> в зависимости от времени суток – поисковые запросы на разных языках</a:t>
            </a:r>
          </a:p>
        </p:txBody>
      </p:sp>
      <p:pic>
        <p:nvPicPr>
          <p:cNvPr id="44"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896913" y="6227806"/>
            <a:ext cx="2561021" cy="4830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4541362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2"/>
                                        </p:tgtEl>
                                        <p:attrNameLst>
                                          <p:attrName>style.visibility</p:attrName>
                                        </p:attrNameLst>
                                      </p:cBhvr>
                                      <p:to>
                                        <p:strVal val="visible"/>
                                      </p:to>
                                    </p:set>
                                    <p:animEffect transition="in" filter="fade">
                                      <p:cBhvr>
                                        <p:cTn id="7" dur="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2" grpId="0">
        <p:bldAsOne/>
      </p:bldGraphic>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600" y="345800"/>
            <a:ext cx="10297800" cy="720000"/>
          </a:xfrm>
        </p:spPr>
        <p:txBody>
          <a:bodyPr/>
          <a:lstStyle/>
          <a:p>
            <a:r>
              <a:rPr lang="en-US" dirty="0" smtClean="0"/>
              <a:t>Add </a:t>
            </a:r>
            <a:r>
              <a:rPr lang="en-US" dirty="0" err="1" smtClean="0"/>
              <a:t>on-premise</a:t>
            </a:r>
            <a:r>
              <a:rPr lang="en-US" dirty="0" smtClean="0"/>
              <a:t> end point</a:t>
            </a:r>
            <a:endParaRPr lang="ru-RU" dirty="0"/>
          </a:p>
        </p:txBody>
      </p:sp>
      <p:sp>
        <p:nvSpPr>
          <p:cNvPr id="4" name="TextBox 3"/>
          <p:cNvSpPr txBox="1"/>
          <p:nvPr/>
        </p:nvSpPr>
        <p:spPr>
          <a:xfrm>
            <a:off x="203200" y="1358900"/>
            <a:ext cx="12108186" cy="3693319"/>
          </a:xfrm>
          <a:prstGeom prst="rect">
            <a:avLst/>
          </a:prstGeom>
          <a:noFill/>
        </p:spPr>
        <p:txBody>
          <a:bodyPr wrap="none" rtlCol="0">
            <a:spAutoFit/>
          </a:bodyPr>
          <a:lstStyle/>
          <a:p>
            <a:r>
              <a:rPr lang="en-US" b="1" i="1" dirty="0"/>
              <a:t>PS C:\&gt; $profile | Add-</a:t>
            </a:r>
            <a:r>
              <a:rPr lang="en-US" b="1" i="1" dirty="0" err="1"/>
              <a:t>AzureTrafficManagerEndpoint</a:t>
            </a:r>
            <a:r>
              <a:rPr lang="en-US" b="1" i="1" dirty="0"/>
              <a:t> -</a:t>
            </a:r>
            <a:r>
              <a:rPr lang="en-US" b="1" i="1" dirty="0" err="1"/>
              <a:t>DomainName</a:t>
            </a:r>
            <a:r>
              <a:rPr lang="en-US" b="1" i="1" dirty="0"/>
              <a:t> 9172.vps.hc.ru -Type Any -Status Enabled</a:t>
            </a:r>
          </a:p>
          <a:p>
            <a:endParaRPr lang="en-US" dirty="0"/>
          </a:p>
          <a:p>
            <a:endParaRPr lang="en-US" dirty="0"/>
          </a:p>
          <a:p>
            <a:r>
              <a:rPr lang="en-US" dirty="0" err="1"/>
              <a:t>TimeToLiveInSeconds</a:t>
            </a:r>
            <a:r>
              <a:rPr lang="en-US" dirty="0"/>
              <a:t> : 300</a:t>
            </a:r>
          </a:p>
          <a:p>
            <a:r>
              <a:rPr lang="en-US" dirty="0" err="1"/>
              <a:t>MonitorRelativePath</a:t>
            </a:r>
            <a:r>
              <a:rPr lang="en-US" dirty="0"/>
              <a:t> : /</a:t>
            </a:r>
          </a:p>
          <a:p>
            <a:r>
              <a:rPr lang="en-US" dirty="0" err="1"/>
              <a:t>MonitorPort</a:t>
            </a:r>
            <a:r>
              <a:rPr lang="en-US" dirty="0"/>
              <a:t>         : 80</a:t>
            </a:r>
          </a:p>
          <a:p>
            <a:r>
              <a:rPr lang="en-US" dirty="0" err="1"/>
              <a:t>MonitorProtocol</a:t>
            </a:r>
            <a:r>
              <a:rPr lang="en-US" dirty="0"/>
              <a:t>     : Http</a:t>
            </a:r>
          </a:p>
          <a:p>
            <a:r>
              <a:rPr lang="en-US" dirty="0" err="1"/>
              <a:t>LoadBalancingMethod</a:t>
            </a:r>
            <a:r>
              <a:rPr lang="en-US" dirty="0"/>
              <a:t> : </a:t>
            </a:r>
            <a:r>
              <a:rPr lang="en-US" dirty="0" err="1"/>
              <a:t>RoundRobin</a:t>
            </a:r>
            <a:endParaRPr lang="en-US" dirty="0"/>
          </a:p>
          <a:p>
            <a:r>
              <a:rPr lang="en-US" dirty="0"/>
              <a:t>Endpoints           : {9172.vps.hc.ru}</a:t>
            </a:r>
          </a:p>
          <a:p>
            <a:r>
              <a:rPr lang="en-US" dirty="0" err="1"/>
              <a:t>MonitorStatus</a:t>
            </a:r>
            <a:r>
              <a:rPr lang="en-US" dirty="0"/>
              <a:t>       : Inactive</a:t>
            </a:r>
          </a:p>
          <a:p>
            <a:r>
              <a:rPr lang="en-US" dirty="0"/>
              <a:t>Name                : </a:t>
            </a:r>
            <a:r>
              <a:rPr lang="en-US" dirty="0" err="1"/>
              <a:t>msdevtour</a:t>
            </a:r>
            <a:endParaRPr lang="en-US" dirty="0"/>
          </a:p>
          <a:p>
            <a:r>
              <a:rPr lang="en-US" dirty="0" err="1"/>
              <a:t>DomainName</a:t>
            </a:r>
            <a:r>
              <a:rPr lang="en-US" dirty="0"/>
              <a:t>          : msdevtour.trafficmanager.net</a:t>
            </a:r>
          </a:p>
          <a:p>
            <a:r>
              <a:rPr lang="en-US" dirty="0"/>
              <a:t>Status              : Enabled</a:t>
            </a:r>
            <a:endParaRPr lang="ru-RU" dirty="0"/>
          </a:p>
        </p:txBody>
      </p:sp>
    </p:spTree>
    <p:extLst>
      <p:ext uri="{BB962C8B-B14F-4D97-AF65-F5344CB8AC3E}">
        <p14:creationId xmlns:p14="http://schemas.microsoft.com/office/powerpoint/2010/main" val="145538837"/>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600" y="345800"/>
            <a:ext cx="10297800" cy="720000"/>
          </a:xfrm>
        </p:spPr>
        <p:txBody>
          <a:bodyPr/>
          <a:lstStyle/>
          <a:p>
            <a:r>
              <a:rPr lang="en-US" dirty="0" smtClean="0"/>
              <a:t>Add Azure end-point</a:t>
            </a:r>
            <a:endParaRPr lang="ru-RU" dirty="0"/>
          </a:p>
        </p:txBody>
      </p:sp>
      <p:sp>
        <p:nvSpPr>
          <p:cNvPr id="4" name="TextBox 3"/>
          <p:cNvSpPr txBox="1"/>
          <p:nvPr/>
        </p:nvSpPr>
        <p:spPr>
          <a:xfrm>
            <a:off x="203200" y="1358900"/>
            <a:ext cx="10454400" cy="3970318"/>
          </a:xfrm>
          <a:prstGeom prst="rect">
            <a:avLst/>
          </a:prstGeom>
          <a:noFill/>
        </p:spPr>
        <p:txBody>
          <a:bodyPr wrap="none" rtlCol="0">
            <a:spAutoFit/>
          </a:bodyPr>
          <a:lstStyle/>
          <a:p>
            <a:r>
              <a:rPr lang="en-US" dirty="0"/>
              <a:t>PS C:\&gt; $profile | Add-</a:t>
            </a:r>
            <a:r>
              <a:rPr lang="en-US" dirty="0" err="1"/>
              <a:t>AzureTrafficManagerEndpoint</a:t>
            </a:r>
            <a:r>
              <a:rPr lang="en-US" dirty="0"/>
              <a:t> -</a:t>
            </a:r>
            <a:r>
              <a:rPr lang="en-US" dirty="0" err="1"/>
              <a:t>DomainName</a:t>
            </a:r>
            <a:r>
              <a:rPr lang="en-US" dirty="0"/>
              <a:t> abokov1.azurewebsites.net </a:t>
            </a:r>
            <a:r>
              <a:rPr lang="en-US" dirty="0" smtClean="0"/>
              <a:t>–Type</a:t>
            </a:r>
          </a:p>
          <a:p>
            <a:r>
              <a:rPr lang="en-US" dirty="0" smtClean="0"/>
              <a:t> </a:t>
            </a:r>
            <a:r>
              <a:rPr lang="en-US" dirty="0" err="1"/>
              <a:t>CloudService</a:t>
            </a:r>
            <a:r>
              <a:rPr lang="en-US" dirty="0"/>
              <a:t> -Status Enabled</a:t>
            </a:r>
          </a:p>
          <a:p>
            <a:endParaRPr lang="en-US" dirty="0"/>
          </a:p>
          <a:p>
            <a:endParaRPr lang="en-US" dirty="0"/>
          </a:p>
          <a:p>
            <a:r>
              <a:rPr lang="en-US" dirty="0" err="1"/>
              <a:t>TimeToLiveInSeconds</a:t>
            </a:r>
            <a:r>
              <a:rPr lang="en-US" dirty="0"/>
              <a:t> : 300</a:t>
            </a:r>
          </a:p>
          <a:p>
            <a:r>
              <a:rPr lang="en-US" dirty="0" err="1"/>
              <a:t>MonitorRelativePath</a:t>
            </a:r>
            <a:r>
              <a:rPr lang="en-US" dirty="0"/>
              <a:t> : /</a:t>
            </a:r>
          </a:p>
          <a:p>
            <a:r>
              <a:rPr lang="en-US" dirty="0" err="1"/>
              <a:t>MonitorPort</a:t>
            </a:r>
            <a:r>
              <a:rPr lang="en-US" dirty="0"/>
              <a:t>         : 80</a:t>
            </a:r>
          </a:p>
          <a:p>
            <a:r>
              <a:rPr lang="en-US" dirty="0" err="1"/>
              <a:t>MonitorProtocol</a:t>
            </a:r>
            <a:r>
              <a:rPr lang="en-US" dirty="0"/>
              <a:t>     : Http</a:t>
            </a:r>
          </a:p>
          <a:p>
            <a:r>
              <a:rPr lang="en-US" dirty="0" err="1"/>
              <a:t>LoadBalancingMethod</a:t>
            </a:r>
            <a:r>
              <a:rPr lang="en-US" dirty="0"/>
              <a:t> : </a:t>
            </a:r>
            <a:r>
              <a:rPr lang="en-US" dirty="0" err="1"/>
              <a:t>RoundRobin</a:t>
            </a:r>
            <a:endParaRPr lang="en-US" dirty="0"/>
          </a:p>
          <a:p>
            <a:r>
              <a:rPr lang="en-US" dirty="0"/>
              <a:t>Endpoints           : {9172.vps.hc.ru, abokov1.azurewebsites.net}</a:t>
            </a:r>
          </a:p>
          <a:p>
            <a:r>
              <a:rPr lang="en-US" dirty="0" err="1"/>
              <a:t>MonitorStatus</a:t>
            </a:r>
            <a:r>
              <a:rPr lang="en-US" dirty="0"/>
              <a:t>       : Inactive</a:t>
            </a:r>
          </a:p>
          <a:p>
            <a:r>
              <a:rPr lang="en-US" dirty="0"/>
              <a:t>Name                : </a:t>
            </a:r>
            <a:r>
              <a:rPr lang="en-US" dirty="0" err="1"/>
              <a:t>msdevtour</a:t>
            </a:r>
            <a:endParaRPr lang="en-US" dirty="0"/>
          </a:p>
          <a:p>
            <a:r>
              <a:rPr lang="en-US" dirty="0" err="1"/>
              <a:t>DomainName</a:t>
            </a:r>
            <a:r>
              <a:rPr lang="en-US" dirty="0"/>
              <a:t>          : msdevtour.trafficmanager.net</a:t>
            </a:r>
          </a:p>
          <a:p>
            <a:r>
              <a:rPr lang="en-US" dirty="0"/>
              <a:t>Status              : Enabled</a:t>
            </a:r>
            <a:endParaRPr lang="ru-RU" dirty="0"/>
          </a:p>
        </p:txBody>
      </p:sp>
    </p:spTree>
    <p:extLst>
      <p:ext uri="{BB962C8B-B14F-4D97-AF65-F5344CB8AC3E}">
        <p14:creationId xmlns:p14="http://schemas.microsoft.com/office/powerpoint/2010/main" val="22088844"/>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600" y="345800"/>
            <a:ext cx="10297800" cy="720000"/>
          </a:xfrm>
        </p:spPr>
        <p:txBody>
          <a:bodyPr/>
          <a:lstStyle/>
          <a:p>
            <a:r>
              <a:rPr lang="en-US" dirty="0" smtClean="0"/>
              <a:t>Set profile</a:t>
            </a:r>
            <a:endParaRPr lang="ru-RU" dirty="0"/>
          </a:p>
        </p:txBody>
      </p:sp>
      <p:sp>
        <p:nvSpPr>
          <p:cNvPr id="4" name="TextBox 3"/>
          <p:cNvSpPr txBox="1"/>
          <p:nvPr/>
        </p:nvSpPr>
        <p:spPr>
          <a:xfrm>
            <a:off x="203200" y="1358900"/>
            <a:ext cx="5286960" cy="3693319"/>
          </a:xfrm>
          <a:prstGeom prst="rect">
            <a:avLst/>
          </a:prstGeom>
          <a:noFill/>
        </p:spPr>
        <p:txBody>
          <a:bodyPr wrap="none" rtlCol="0">
            <a:spAutoFit/>
          </a:bodyPr>
          <a:lstStyle/>
          <a:p>
            <a:r>
              <a:rPr lang="en-US" dirty="0"/>
              <a:t>PS C:\&gt; $profile | Set-</a:t>
            </a:r>
            <a:r>
              <a:rPr lang="en-US" dirty="0" err="1"/>
              <a:t>AzureTrafficManagerProfile</a:t>
            </a:r>
            <a:endParaRPr lang="en-US" dirty="0"/>
          </a:p>
          <a:p>
            <a:endParaRPr lang="en-US" dirty="0"/>
          </a:p>
          <a:p>
            <a:endParaRPr lang="en-US" dirty="0"/>
          </a:p>
          <a:p>
            <a:r>
              <a:rPr lang="en-US" dirty="0" err="1"/>
              <a:t>TimeToLiveInSeconds</a:t>
            </a:r>
            <a:r>
              <a:rPr lang="en-US" dirty="0"/>
              <a:t> : 300</a:t>
            </a:r>
          </a:p>
          <a:p>
            <a:r>
              <a:rPr lang="en-US" dirty="0" err="1"/>
              <a:t>MonitorRelativePath</a:t>
            </a:r>
            <a:r>
              <a:rPr lang="en-US" dirty="0"/>
              <a:t> : /</a:t>
            </a:r>
          </a:p>
          <a:p>
            <a:r>
              <a:rPr lang="en-US" dirty="0" err="1"/>
              <a:t>MonitorPort</a:t>
            </a:r>
            <a:r>
              <a:rPr lang="en-US" dirty="0"/>
              <a:t>         : 80</a:t>
            </a:r>
          </a:p>
          <a:p>
            <a:r>
              <a:rPr lang="en-US" dirty="0" err="1"/>
              <a:t>MonitorProtocol</a:t>
            </a:r>
            <a:r>
              <a:rPr lang="en-US" dirty="0"/>
              <a:t>     : Http</a:t>
            </a:r>
          </a:p>
          <a:p>
            <a:r>
              <a:rPr lang="en-US" dirty="0" err="1"/>
              <a:t>LoadBalancingMethod</a:t>
            </a:r>
            <a:r>
              <a:rPr lang="en-US" dirty="0"/>
              <a:t> : </a:t>
            </a:r>
            <a:r>
              <a:rPr lang="en-US" dirty="0" err="1"/>
              <a:t>RoundRobin</a:t>
            </a:r>
            <a:endParaRPr lang="en-US" dirty="0"/>
          </a:p>
          <a:p>
            <a:r>
              <a:rPr lang="en-US" dirty="0"/>
              <a:t>Endpoints           : {9172.vps.hc.ru}</a:t>
            </a:r>
          </a:p>
          <a:p>
            <a:r>
              <a:rPr lang="en-US" dirty="0" err="1"/>
              <a:t>MonitorStatus</a:t>
            </a:r>
            <a:r>
              <a:rPr lang="en-US" dirty="0"/>
              <a:t>       : </a:t>
            </a:r>
            <a:r>
              <a:rPr lang="en-US" dirty="0" err="1"/>
              <a:t>CheckingEndpoints</a:t>
            </a:r>
            <a:endParaRPr lang="en-US" dirty="0"/>
          </a:p>
          <a:p>
            <a:r>
              <a:rPr lang="en-US" dirty="0"/>
              <a:t>Name                : </a:t>
            </a:r>
            <a:r>
              <a:rPr lang="en-US" dirty="0" err="1"/>
              <a:t>msdevtour</a:t>
            </a:r>
            <a:endParaRPr lang="en-US" dirty="0"/>
          </a:p>
          <a:p>
            <a:r>
              <a:rPr lang="en-US" dirty="0" err="1"/>
              <a:t>DomainName</a:t>
            </a:r>
            <a:r>
              <a:rPr lang="en-US" dirty="0"/>
              <a:t>          : msdevtour.trafficmanager.net</a:t>
            </a:r>
          </a:p>
          <a:p>
            <a:r>
              <a:rPr lang="en-US" dirty="0"/>
              <a:t>Status              : Enabled</a:t>
            </a:r>
            <a:endParaRPr lang="ru-RU" dirty="0"/>
          </a:p>
        </p:txBody>
      </p:sp>
    </p:spTree>
    <p:extLst>
      <p:ext uri="{BB962C8B-B14F-4D97-AF65-F5344CB8AC3E}">
        <p14:creationId xmlns:p14="http://schemas.microsoft.com/office/powerpoint/2010/main" val="82421330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600" y="345800"/>
            <a:ext cx="10297800" cy="720000"/>
          </a:xfrm>
        </p:spPr>
        <p:txBody>
          <a:bodyPr/>
          <a:lstStyle/>
          <a:p>
            <a:r>
              <a:rPr lang="en-US" dirty="0" smtClean="0"/>
              <a:t>Set profile</a:t>
            </a:r>
            <a:endParaRPr lang="ru-RU" dirty="0"/>
          </a:p>
        </p:txBody>
      </p:sp>
      <p:sp>
        <p:nvSpPr>
          <p:cNvPr id="4" name="TextBox 3"/>
          <p:cNvSpPr txBox="1"/>
          <p:nvPr/>
        </p:nvSpPr>
        <p:spPr>
          <a:xfrm>
            <a:off x="203200" y="1358900"/>
            <a:ext cx="5286960" cy="3693319"/>
          </a:xfrm>
          <a:prstGeom prst="rect">
            <a:avLst/>
          </a:prstGeom>
          <a:noFill/>
        </p:spPr>
        <p:txBody>
          <a:bodyPr wrap="none" rtlCol="0">
            <a:spAutoFit/>
          </a:bodyPr>
          <a:lstStyle/>
          <a:p>
            <a:r>
              <a:rPr lang="en-US" dirty="0"/>
              <a:t>PS C:\&gt; $profile | Set-</a:t>
            </a:r>
            <a:r>
              <a:rPr lang="en-US" dirty="0" err="1"/>
              <a:t>AzureTrafficManagerProfile</a:t>
            </a:r>
            <a:endParaRPr lang="en-US" dirty="0"/>
          </a:p>
          <a:p>
            <a:endParaRPr lang="en-US" dirty="0"/>
          </a:p>
          <a:p>
            <a:endParaRPr lang="en-US" dirty="0"/>
          </a:p>
          <a:p>
            <a:r>
              <a:rPr lang="en-US" dirty="0" err="1"/>
              <a:t>TimeToLiveInSeconds</a:t>
            </a:r>
            <a:r>
              <a:rPr lang="en-US" dirty="0"/>
              <a:t> : 300</a:t>
            </a:r>
          </a:p>
          <a:p>
            <a:r>
              <a:rPr lang="en-US" dirty="0" err="1"/>
              <a:t>MonitorRelativePath</a:t>
            </a:r>
            <a:r>
              <a:rPr lang="en-US" dirty="0"/>
              <a:t> : /</a:t>
            </a:r>
          </a:p>
          <a:p>
            <a:r>
              <a:rPr lang="en-US" dirty="0" err="1"/>
              <a:t>MonitorPort</a:t>
            </a:r>
            <a:r>
              <a:rPr lang="en-US" dirty="0"/>
              <a:t>         : 80</a:t>
            </a:r>
          </a:p>
          <a:p>
            <a:r>
              <a:rPr lang="en-US" dirty="0" err="1"/>
              <a:t>MonitorProtocol</a:t>
            </a:r>
            <a:r>
              <a:rPr lang="en-US" dirty="0"/>
              <a:t>     : Http</a:t>
            </a:r>
          </a:p>
          <a:p>
            <a:r>
              <a:rPr lang="en-US" dirty="0" err="1"/>
              <a:t>LoadBalancingMethod</a:t>
            </a:r>
            <a:r>
              <a:rPr lang="en-US" dirty="0"/>
              <a:t> : </a:t>
            </a:r>
            <a:r>
              <a:rPr lang="en-US" dirty="0" err="1"/>
              <a:t>RoundRobin</a:t>
            </a:r>
            <a:endParaRPr lang="en-US" dirty="0"/>
          </a:p>
          <a:p>
            <a:r>
              <a:rPr lang="en-US" dirty="0"/>
              <a:t>Endpoints           : {9172.vps.hc.ru}</a:t>
            </a:r>
          </a:p>
          <a:p>
            <a:r>
              <a:rPr lang="en-US" dirty="0" err="1"/>
              <a:t>MonitorStatus</a:t>
            </a:r>
            <a:r>
              <a:rPr lang="en-US" dirty="0"/>
              <a:t>       : </a:t>
            </a:r>
            <a:r>
              <a:rPr lang="en-US" dirty="0" err="1"/>
              <a:t>CheckingEndpoints</a:t>
            </a:r>
            <a:endParaRPr lang="en-US" dirty="0"/>
          </a:p>
          <a:p>
            <a:r>
              <a:rPr lang="en-US" dirty="0"/>
              <a:t>Name                : </a:t>
            </a:r>
            <a:r>
              <a:rPr lang="en-US" dirty="0" err="1"/>
              <a:t>msdevtour</a:t>
            </a:r>
            <a:endParaRPr lang="en-US" dirty="0"/>
          </a:p>
          <a:p>
            <a:r>
              <a:rPr lang="en-US" dirty="0" err="1"/>
              <a:t>DomainName</a:t>
            </a:r>
            <a:r>
              <a:rPr lang="en-US" dirty="0"/>
              <a:t>          : msdevtour.trafficmanager.net</a:t>
            </a:r>
          </a:p>
          <a:p>
            <a:r>
              <a:rPr lang="en-US" dirty="0"/>
              <a:t>Status              : Enabled</a:t>
            </a:r>
            <a:endParaRPr lang="ru-RU" dirty="0"/>
          </a:p>
        </p:txBody>
      </p:sp>
    </p:spTree>
    <p:extLst>
      <p:ext uri="{BB962C8B-B14F-4D97-AF65-F5344CB8AC3E}">
        <p14:creationId xmlns:p14="http://schemas.microsoft.com/office/powerpoint/2010/main" val="185063024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600" y="345800"/>
            <a:ext cx="10297800" cy="720000"/>
          </a:xfrm>
        </p:spPr>
        <p:txBody>
          <a:bodyPr/>
          <a:lstStyle/>
          <a:p>
            <a:r>
              <a:rPr lang="en-US" dirty="0" smtClean="0"/>
              <a:t>Change DNS record</a:t>
            </a:r>
            <a:endParaRPr lang="ru-RU" dirty="0"/>
          </a:p>
        </p:txBody>
      </p:sp>
      <p:pic>
        <p:nvPicPr>
          <p:cNvPr id="3" name="Picture 2"/>
          <p:cNvPicPr>
            <a:picLocks noChangeAspect="1"/>
          </p:cNvPicPr>
          <p:nvPr/>
        </p:nvPicPr>
        <p:blipFill>
          <a:blip r:embed="rId2"/>
          <a:stretch>
            <a:fillRect/>
          </a:stretch>
        </p:blipFill>
        <p:spPr>
          <a:xfrm>
            <a:off x="630237" y="1411287"/>
            <a:ext cx="9165239" cy="4329113"/>
          </a:xfrm>
          <a:prstGeom prst="rect">
            <a:avLst/>
          </a:prstGeom>
        </p:spPr>
      </p:pic>
    </p:spTree>
    <p:extLst>
      <p:ext uri="{BB962C8B-B14F-4D97-AF65-F5344CB8AC3E}">
        <p14:creationId xmlns:p14="http://schemas.microsoft.com/office/powerpoint/2010/main" val="170368690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600" y="345800"/>
            <a:ext cx="10297800" cy="720000"/>
          </a:xfrm>
        </p:spPr>
        <p:txBody>
          <a:bodyPr/>
          <a:lstStyle/>
          <a:p>
            <a:r>
              <a:rPr lang="en-US" dirty="0" smtClean="0"/>
              <a:t>DigWebInterface.com</a:t>
            </a:r>
            <a:endParaRPr lang="ru-RU" dirty="0"/>
          </a:p>
        </p:txBody>
      </p:sp>
      <p:pic>
        <p:nvPicPr>
          <p:cNvPr id="4" name="Picture 3"/>
          <p:cNvPicPr>
            <a:picLocks noChangeAspect="1"/>
          </p:cNvPicPr>
          <p:nvPr/>
        </p:nvPicPr>
        <p:blipFill>
          <a:blip r:embed="rId2"/>
          <a:stretch>
            <a:fillRect/>
          </a:stretch>
        </p:blipFill>
        <p:spPr>
          <a:xfrm>
            <a:off x="765464" y="1190625"/>
            <a:ext cx="8686800" cy="5667375"/>
          </a:xfrm>
          <a:prstGeom prst="rect">
            <a:avLst/>
          </a:prstGeom>
        </p:spPr>
      </p:pic>
    </p:spTree>
    <p:extLst>
      <p:ext uri="{BB962C8B-B14F-4D97-AF65-F5344CB8AC3E}">
        <p14:creationId xmlns:p14="http://schemas.microsoft.com/office/powerpoint/2010/main" val="102082166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600" y="146775"/>
            <a:ext cx="10297800" cy="720000"/>
          </a:xfrm>
        </p:spPr>
        <p:txBody>
          <a:bodyPr/>
          <a:lstStyle/>
          <a:p>
            <a:r>
              <a:rPr lang="en-US" dirty="0" smtClean="0"/>
              <a:t>DigWebInterface.com</a:t>
            </a:r>
            <a:endParaRPr lang="ru-RU" dirty="0"/>
          </a:p>
        </p:txBody>
      </p:sp>
      <p:pic>
        <p:nvPicPr>
          <p:cNvPr id="3" name="Picture 2"/>
          <p:cNvPicPr>
            <a:picLocks noChangeAspect="1"/>
          </p:cNvPicPr>
          <p:nvPr/>
        </p:nvPicPr>
        <p:blipFill>
          <a:blip r:embed="rId2"/>
          <a:stretch>
            <a:fillRect/>
          </a:stretch>
        </p:blipFill>
        <p:spPr>
          <a:xfrm>
            <a:off x="395600" y="866775"/>
            <a:ext cx="9315450" cy="5991225"/>
          </a:xfrm>
          <a:prstGeom prst="rect">
            <a:avLst/>
          </a:prstGeom>
        </p:spPr>
      </p:pic>
    </p:spTree>
    <p:extLst>
      <p:ext uri="{BB962C8B-B14F-4D97-AF65-F5344CB8AC3E}">
        <p14:creationId xmlns:p14="http://schemas.microsoft.com/office/powerpoint/2010/main" val="203907955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9727" y="115863"/>
            <a:ext cx="10297800" cy="720000"/>
          </a:xfrm>
        </p:spPr>
        <p:txBody>
          <a:bodyPr/>
          <a:lstStyle/>
          <a:p>
            <a:r>
              <a:rPr lang="en-US" dirty="0" smtClean="0"/>
              <a:t>First version of architecture </a:t>
            </a:r>
            <a:endParaRPr lang="ru-RU" dirty="0"/>
          </a:p>
        </p:txBody>
      </p:sp>
      <p:sp>
        <p:nvSpPr>
          <p:cNvPr id="6" name="TextBox 5"/>
          <p:cNvSpPr txBox="1"/>
          <p:nvPr/>
        </p:nvSpPr>
        <p:spPr>
          <a:xfrm>
            <a:off x="2498785" y="8485416"/>
            <a:ext cx="5104866" cy="307777"/>
          </a:xfrm>
          <a:prstGeom prst="rect">
            <a:avLst/>
          </a:prstGeom>
          <a:noFill/>
          <a:ln>
            <a:solidFill>
              <a:schemeClr val="tx2">
                <a:lumMod val="20000"/>
                <a:lumOff val="80000"/>
              </a:schemeClr>
            </a:solidFill>
          </a:ln>
        </p:spPr>
        <p:txBody>
          <a:bodyPr wrap="square" rtlCol="0">
            <a:spAutoFit/>
          </a:bodyPr>
          <a:lstStyle/>
          <a:p>
            <a:r>
              <a:rPr lang="en-US" sz="1400" b="1" i="1" dirty="0">
                <a:solidFill>
                  <a:srgbClr val="FF0000"/>
                </a:solidFill>
              </a:rPr>
              <a:t>Use Checklist and Guidelines in Notes section before you submit</a:t>
            </a:r>
          </a:p>
        </p:txBody>
      </p:sp>
      <p:sp>
        <p:nvSpPr>
          <p:cNvPr id="9" name="TextBox 8"/>
          <p:cNvSpPr txBox="1"/>
          <p:nvPr/>
        </p:nvSpPr>
        <p:spPr>
          <a:xfrm>
            <a:off x="247593" y="3159741"/>
            <a:ext cx="4245900" cy="1615827"/>
          </a:xfrm>
          <a:prstGeom prst="rect">
            <a:avLst/>
          </a:prstGeom>
          <a:noFill/>
        </p:spPr>
        <p:txBody>
          <a:bodyPr wrap="square" rtlCol="0">
            <a:spAutoFit/>
          </a:bodyPr>
          <a:lstStyle/>
          <a:p>
            <a:r>
              <a:rPr lang="en-US" sz="2800" dirty="0"/>
              <a:t>b</a:t>
            </a:r>
            <a:r>
              <a:rPr lang="en-US" sz="2800" dirty="0" smtClean="0"/>
              <a:t>okov.net ( faked link )</a:t>
            </a:r>
          </a:p>
          <a:p>
            <a:endParaRPr lang="en-US" sz="1200" dirty="0"/>
          </a:p>
          <a:p>
            <a:pPr marL="342900" indent="-342900">
              <a:spcAft>
                <a:spcPts val="600"/>
              </a:spcAft>
              <a:buFont typeface="Arial" panose="020B0604020202020204" pitchFamily="34" charset="0"/>
              <a:buChar char="•"/>
            </a:pPr>
            <a:r>
              <a:rPr lang="en-US" b="1" dirty="0" smtClean="0"/>
              <a:t>ASP.NET + Node.js</a:t>
            </a:r>
            <a:endParaRPr lang="ru-RU" b="1" dirty="0" smtClean="0"/>
          </a:p>
          <a:p>
            <a:pPr marL="342900" indent="-342900">
              <a:spcAft>
                <a:spcPts val="600"/>
              </a:spcAft>
              <a:buFont typeface="Arial" panose="020B0604020202020204" pitchFamily="34" charset="0"/>
              <a:buChar char="•"/>
            </a:pPr>
            <a:r>
              <a:rPr lang="en-US" b="1" dirty="0" smtClean="0"/>
              <a:t>Azure websites</a:t>
            </a:r>
            <a:r>
              <a:rPr lang="ru-RU" b="1" dirty="0"/>
              <a:t> </a:t>
            </a:r>
            <a:r>
              <a:rPr lang="en-US" b="1" dirty="0" smtClean="0"/>
              <a:t>:</a:t>
            </a:r>
            <a:r>
              <a:rPr lang="ru-RU" b="1" dirty="0" smtClean="0"/>
              <a:t> </a:t>
            </a:r>
            <a:r>
              <a:rPr lang="en-US" b="1" dirty="0" smtClean="0"/>
              <a:t>2 standard instances ( Amsterdam hosted )</a:t>
            </a:r>
            <a:endParaRPr lang="ru-RU" b="1" dirty="0"/>
          </a:p>
        </p:txBody>
      </p:sp>
      <p:pic>
        <p:nvPicPr>
          <p:cNvPr id="10" name="Picture 9"/>
          <p:cNvPicPr>
            <a:picLocks noChangeAspect="1"/>
          </p:cNvPicPr>
          <p:nvPr/>
        </p:nvPicPr>
        <p:blipFill>
          <a:blip r:embed="rId3"/>
          <a:stretch>
            <a:fillRect/>
          </a:stretch>
        </p:blipFill>
        <p:spPr>
          <a:xfrm>
            <a:off x="5051218" y="1221456"/>
            <a:ext cx="2225681" cy="2225681"/>
          </a:xfrm>
          <a:prstGeom prst="rect">
            <a:avLst/>
          </a:prstGeom>
        </p:spPr>
      </p:pic>
      <p:sp>
        <p:nvSpPr>
          <p:cNvPr id="11" name="TextBox 10"/>
          <p:cNvSpPr txBox="1"/>
          <p:nvPr/>
        </p:nvSpPr>
        <p:spPr>
          <a:xfrm>
            <a:off x="4746418" y="3045328"/>
            <a:ext cx="3932361" cy="1969770"/>
          </a:xfrm>
          <a:prstGeom prst="rect">
            <a:avLst/>
          </a:prstGeom>
          <a:noFill/>
        </p:spPr>
        <p:txBody>
          <a:bodyPr wrap="square" rtlCol="0">
            <a:spAutoFit/>
          </a:bodyPr>
          <a:lstStyle/>
          <a:p>
            <a:r>
              <a:rPr lang="en-US" sz="2800" dirty="0" smtClean="0"/>
              <a:t>Data storages</a:t>
            </a:r>
            <a:r>
              <a:rPr lang="en-US" sz="2800" dirty="0"/>
              <a:t/>
            </a:r>
            <a:br>
              <a:rPr lang="en-US" sz="2800" dirty="0"/>
            </a:br>
            <a:endParaRPr lang="en-US" sz="1200" dirty="0"/>
          </a:p>
          <a:p>
            <a:pPr marL="342900" indent="-342900">
              <a:spcAft>
                <a:spcPts val="600"/>
              </a:spcAft>
              <a:buFont typeface="Arial" panose="020B0604020202020204" pitchFamily="34" charset="0"/>
              <a:buChar char="•"/>
            </a:pPr>
            <a:r>
              <a:rPr lang="ru-RU" b="1" dirty="0" smtClean="0"/>
              <a:t>Картинки храним локально</a:t>
            </a:r>
            <a:r>
              <a:rPr lang="en-US" b="1" dirty="0" smtClean="0"/>
              <a:t> </a:t>
            </a:r>
            <a:r>
              <a:rPr lang="en-US" b="1" dirty="0" smtClean="0">
                <a:sym typeface="Wingdings" panose="05000000000000000000" pitchFamily="2" charset="2"/>
              </a:rPr>
              <a:t></a:t>
            </a:r>
          </a:p>
          <a:p>
            <a:pPr marL="342900" indent="-342900">
              <a:spcAft>
                <a:spcPts val="600"/>
              </a:spcAft>
              <a:buFont typeface="Arial" panose="020B0604020202020204" pitchFamily="34" charset="0"/>
              <a:buChar char="•"/>
            </a:pPr>
            <a:r>
              <a:rPr lang="en-US" b="1" dirty="0" smtClean="0">
                <a:sym typeface="Wingdings" panose="05000000000000000000" pitchFamily="2" charset="2"/>
              </a:rPr>
              <a:t>SQL Azure (basic tier )</a:t>
            </a:r>
            <a:endParaRPr lang="en-US" b="1" dirty="0" smtClean="0"/>
          </a:p>
          <a:p>
            <a:pPr marL="342900" indent="-342900">
              <a:spcAft>
                <a:spcPts val="600"/>
              </a:spcAft>
              <a:buFont typeface="Arial" panose="020B0604020202020204" pitchFamily="34" charset="0"/>
              <a:buChar char="•"/>
            </a:pPr>
            <a:r>
              <a:rPr lang="en-US" b="1" dirty="0" err="1" smtClean="0"/>
              <a:t>DocumentDB</a:t>
            </a:r>
            <a:r>
              <a:rPr lang="ru-RU" b="1" dirty="0" smtClean="0"/>
              <a:t> </a:t>
            </a:r>
            <a:r>
              <a:rPr lang="en-US" b="1" dirty="0" smtClean="0"/>
              <a:t>for log and statistics storage </a:t>
            </a:r>
            <a:endParaRPr lang="ru-RU" b="1" dirty="0"/>
          </a:p>
        </p:txBody>
      </p:sp>
      <p:pic>
        <p:nvPicPr>
          <p:cNvPr id="1026" name="Picture 2" descr="http://www.manageengine.com/products/qengine/images/load-testing.gif"/>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237870" y="3832731"/>
            <a:ext cx="1666875" cy="1428750"/>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p:cNvSpPr txBox="1"/>
          <p:nvPr/>
        </p:nvSpPr>
        <p:spPr>
          <a:xfrm>
            <a:off x="8437088" y="5152189"/>
            <a:ext cx="4245900" cy="1261884"/>
          </a:xfrm>
          <a:prstGeom prst="rect">
            <a:avLst/>
          </a:prstGeom>
          <a:noFill/>
        </p:spPr>
        <p:txBody>
          <a:bodyPr wrap="square" rtlCol="0">
            <a:spAutoFit/>
          </a:bodyPr>
          <a:lstStyle/>
          <a:p>
            <a:r>
              <a:rPr lang="en-US" sz="2800" dirty="0" smtClean="0"/>
              <a:t>Traffic</a:t>
            </a:r>
          </a:p>
          <a:p>
            <a:endParaRPr lang="en-US" sz="1200" dirty="0"/>
          </a:p>
          <a:p>
            <a:pPr marL="342900" indent="-342900">
              <a:spcAft>
                <a:spcPts val="600"/>
              </a:spcAft>
              <a:buFont typeface="Arial" panose="020B0604020202020204" pitchFamily="34" charset="0"/>
              <a:buChar char="•"/>
            </a:pPr>
            <a:r>
              <a:rPr lang="en-US" b="1" dirty="0" smtClean="0"/>
              <a:t>1 M/day </a:t>
            </a:r>
            <a:r>
              <a:rPr lang="ru-RU" b="1" dirty="0" smtClean="0"/>
              <a:t>это будет</a:t>
            </a:r>
            <a:r>
              <a:rPr lang="en-US" b="1" dirty="0" smtClean="0"/>
              <a:t> 125k/hour ~ 40 per/second</a:t>
            </a:r>
            <a:endParaRPr lang="ru-RU" b="1" dirty="0"/>
          </a:p>
        </p:txBody>
      </p:sp>
      <p:pic>
        <p:nvPicPr>
          <p:cNvPr id="1028" name="Picture 4" descr="https://imgflip.com/readImage?iid=61520"/>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64685" y="4966498"/>
            <a:ext cx="2218657" cy="1663993"/>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p:cNvSpPr txBox="1"/>
          <p:nvPr/>
        </p:nvSpPr>
        <p:spPr>
          <a:xfrm>
            <a:off x="2683342" y="5095513"/>
            <a:ext cx="4245900" cy="1384995"/>
          </a:xfrm>
          <a:prstGeom prst="rect">
            <a:avLst/>
          </a:prstGeom>
          <a:noFill/>
        </p:spPr>
        <p:txBody>
          <a:bodyPr wrap="square" rtlCol="0">
            <a:spAutoFit/>
          </a:bodyPr>
          <a:lstStyle/>
          <a:p>
            <a:r>
              <a:rPr lang="ru-RU" sz="2800" dirty="0" smtClean="0"/>
              <a:t>Либо мы чего не заметили либо этого еще не случилось</a:t>
            </a:r>
          </a:p>
        </p:txBody>
      </p:sp>
      <p:sp>
        <p:nvSpPr>
          <p:cNvPr id="4" name="TextBox 3"/>
          <p:cNvSpPr txBox="1"/>
          <p:nvPr/>
        </p:nvSpPr>
        <p:spPr>
          <a:xfrm>
            <a:off x="247593" y="884209"/>
            <a:ext cx="5369675" cy="954107"/>
          </a:xfrm>
          <a:prstGeom prst="rect">
            <a:avLst/>
          </a:prstGeom>
          <a:noFill/>
        </p:spPr>
        <p:txBody>
          <a:bodyPr wrap="none" rtlCol="0">
            <a:spAutoFit/>
          </a:bodyPr>
          <a:lstStyle/>
          <a:p>
            <a:r>
              <a:rPr lang="en-US" sz="2800" dirty="0"/>
              <a:t>S</a:t>
            </a:r>
            <a:r>
              <a:rPr lang="en-US" sz="2800" dirty="0" smtClean="0"/>
              <a:t>ite for schools in Germany – </a:t>
            </a:r>
          </a:p>
          <a:p>
            <a:r>
              <a:rPr lang="en-US" sz="2800" dirty="0"/>
              <a:t>l</a:t>
            </a:r>
            <a:r>
              <a:rPr lang="en-US" sz="2800" dirty="0" smtClean="0"/>
              <a:t>earn </a:t>
            </a:r>
            <a:r>
              <a:rPr lang="en-US" sz="2800" dirty="0"/>
              <a:t>b</a:t>
            </a:r>
            <a:r>
              <a:rPr lang="en-US" sz="2800" dirty="0" smtClean="0"/>
              <a:t>iology and ecology online</a:t>
            </a:r>
            <a:endParaRPr lang="ru-RU" sz="2800" dirty="0"/>
          </a:p>
        </p:txBody>
      </p:sp>
    </p:spTree>
    <p:extLst>
      <p:ext uri="{BB962C8B-B14F-4D97-AF65-F5344CB8AC3E}">
        <p14:creationId xmlns:p14="http://schemas.microsoft.com/office/powerpoint/2010/main" val="304595507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0621" y="452748"/>
            <a:ext cx="10297800" cy="720000"/>
          </a:xfrm>
        </p:spPr>
        <p:txBody>
          <a:bodyPr>
            <a:noAutofit/>
          </a:bodyPr>
          <a:lstStyle/>
          <a:p>
            <a:r>
              <a:rPr lang="en-US" sz="6600" b="1" dirty="0" smtClean="0"/>
              <a:t>Risks</a:t>
            </a:r>
            <a:endParaRPr lang="ru-RU" sz="6600" b="1" dirty="0"/>
          </a:p>
        </p:txBody>
      </p:sp>
      <p:sp>
        <p:nvSpPr>
          <p:cNvPr id="3" name="TextBox 2"/>
          <p:cNvSpPr txBox="1"/>
          <p:nvPr/>
        </p:nvSpPr>
        <p:spPr>
          <a:xfrm>
            <a:off x="385011" y="1334842"/>
            <a:ext cx="11582400" cy="3046988"/>
          </a:xfrm>
          <a:prstGeom prst="rect">
            <a:avLst/>
          </a:prstGeom>
          <a:noFill/>
        </p:spPr>
        <p:txBody>
          <a:bodyPr wrap="square" rtlCol="0">
            <a:spAutoFit/>
          </a:bodyPr>
          <a:lstStyle/>
          <a:p>
            <a:pPr marL="457200" indent="-457200">
              <a:buFont typeface="Arial" panose="020B0604020202020204" pitchFamily="34" charset="0"/>
              <a:buChar char="•"/>
            </a:pPr>
            <a:r>
              <a:rPr lang="ru-RU" sz="3200" dirty="0" smtClean="0"/>
              <a:t>Как </a:t>
            </a:r>
            <a:r>
              <a:rPr lang="en-US" sz="3200" dirty="0" smtClean="0"/>
              <a:t>1M -&gt; 40 </a:t>
            </a:r>
            <a:r>
              <a:rPr lang="ru-RU" sz="3200" dirty="0" smtClean="0"/>
              <a:t>хитов в секунду</a:t>
            </a:r>
            <a:endParaRPr lang="en-US" sz="3200" dirty="0" smtClean="0"/>
          </a:p>
          <a:p>
            <a:pPr marL="457200" indent="-457200">
              <a:buFont typeface="Arial" panose="020B0604020202020204" pitchFamily="34" charset="0"/>
              <a:buChar char="•"/>
            </a:pPr>
            <a:r>
              <a:rPr lang="en-US" sz="3200" dirty="0" smtClean="0"/>
              <a:t>SLA 99.95 </a:t>
            </a:r>
            <a:r>
              <a:rPr lang="ru-RU" sz="3200" dirty="0" smtClean="0"/>
              <a:t>означает</a:t>
            </a:r>
            <a:r>
              <a:rPr lang="en-US" sz="3200" dirty="0" smtClean="0"/>
              <a:t> 21 </a:t>
            </a:r>
            <a:r>
              <a:rPr lang="ru-RU" sz="3200" dirty="0" smtClean="0"/>
              <a:t>простоя</a:t>
            </a:r>
            <a:r>
              <a:rPr lang="en-US" sz="3200" dirty="0" smtClean="0"/>
              <a:t> ( lesson ~45 </a:t>
            </a:r>
            <a:r>
              <a:rPr lang="en-US" sz="3200" dirty="0" err="1" smtClean="0"/>
              <a:t>mins</a:t>
            </a:r>
            <a:r>
              <a:rPr lang="en-US" sz="3200" dirty="0" smtClean="0"/>
              <a:t> )</a:t>
            </a:r>
          </a:p>
          <a:p>
            <a:pPr marL="457200" indent="-457200">
              <a:buFont typeface="Arial" panose="020B0604020202020204" pitchFamily="34" charset="0"/>
              <a:buChar char="•"/>
            </a:pPr>
            <a:r>
              <a:rPr lang="en-US" sz="3200" dirty="0" smtClean="0"/>
              <a:t>SLA </a:t>
            </a:r>
            <a:r>
              <a:rPr lang="ru-RU" sz="3200" dirty="0" smtClean="0"/>
              <a:t>для</a:t>
            </a:r>
            <a:r>
              <a:rPr lang="en-US" sz="3200" dirty="0" smtClean="0"/>
              <a:t> DNS</a:t>
            </a:r>
            <a:r>
              <a:rPr lang="ru-RU" sz="3200" dirty="0" smtClean="0"/>
              <a:t> записи</a:t>
            </a:r>
            <a:r>
              <a:rPr lang="en-US" sz="3200" dirty="0" smtClean="0"/>
              <a:t> ?</a:t>
            </a:r>
          </a:p>
          <a:p>
            <a:pPr marL="457200" indent="-457200">
              <a:buFont typeface="Arial" panose="020B0604020202020204" pitchFamily="34" charset="0"/>
              <a:buChar char="•"/>
            </a:pPr>
            <a:r>
              <a:rPr lang="ru-RU" sz="3200" dirty="0" smtClean="0"/>
              <a:t>Лимиты подписки </a:t>
            </a:r>
            <a:r>
              <a:rPr lang="en-US" sz="3200" dirty="0" smtClean="0"/>
              <a:t>Azure subscription</a:t>
            </a:r>
            <a:r>
              <a:rPr lang="ru-RU" sz="3200" dirty="0" smtClean="0"/>
              <a:t>, техсаппорт</a:t>
            </a:r>
            <a:r>
              <a:rPr lang="en-US" sz="3200" dirty="0" smtClean="0"/>
              <a:t>?</a:t>
            </a:r>
          </a:p>
          <a:p>
            <a:pPr marL="457200" indent="-457200">
              <a:buFont typeface="Arial" panose="020B0604020202020204" pitchFamily="34" charset="0"/>
              <a:buChar char="•"/>
            </a:pPr>
            <a:r>
              <a:rPr lang="ru-RU" sz="3200" dirty="0" smtClean="0"/>
              <a:t>Что будет если что-то пойдет не так</a:t>
            </a:r>
            <a:r>
              <a:rPr lang="en-US" sz="3200" dirty="0" smtClean="0"/>
              <a:t>?</a:t>
            </a:r>
          </a:p>
          <a:p>
            <a:pPr marL="457200" indent="-457200">
              <a:buFont typeface="Arial" panose="020B0604020202020204" pitchFamily="34" charset="0"/>
              <a:buChar char="•"/>
            </a:pPr>
            <a:r>
              <a:rPr lang="ru-RU" sz="3200" dirty="0" smtClean="0"/>
              <a:t>Нагрузочные тесты</a:t>
            </a:r>
            <a:r>
              <a:rPr lang="en-US" sz="3200" dirty="0" smtClean="0"/>
              <a:t> 45% CPU </a:t>
            </a:r>
            <a:r>
              <a:rPr lang="ru-RU" sz="3200" dirty="0" smtClean="0"/>
              <a:t>на</a:t>
            </a:r>
            <a:r>
              <a:rPr lang="en-US" sz="3200" dirty="0" smtClean="0"/>
              <a:t> 300k </a:t>
            </a:r>
            <a:r>
              <a:rPr lang="ru-RU" sz="3200" dirty="0" smtClean="0"/>
              <a:t>пользовател</a:t>
            </a:r>
          </a:p>
        </p:txBody>
      </p:sp>
    </p:spTree>
    <p:extLst>
      <p:ext uri="{BB962C8B-B14F-4D97-AF65-F5344CB8AC3E}">
        <p14:creationId xmlns:p14="http://schemas.microsoft.com/office/powerpoint/2010/main" val="23786111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0621" y="452748"/>
            <a:ext cx="10297800" cy="720000"/>
          </a:xfrm>
        </p:spPr>
        <p:txBody>
          <a:bodyPr>
            <a:noAutofit/>
          </a:bodyPr>
          <a:lstStyle/>
          <a:p>
            <a:r>
              <a:rPr lang="en-US" sz="6600" b="1" dirty="0" smtClean="0"/>
              <a:t>Actions</a:t>
            </a:r>
            <a:endParaRPr lang="ru-RU" sz="6600" b="1" dirty="0"/>
          </a:p>
        </p:txBody>
      </p:sp>
      <p:sp>
        <p:nvSpPr>
          <p:cNvPr id="3" name="TextBox 2"/>
          <p:cNvSpPr txBox="1"/>
          <p:nvPr/>
        </p:nvSpPr>
        <p:spPr>
          <a:xfrm>
            <a:off x="288758" y="1463179"/>
            <a:ext cx="11582400" cy="4524315"/>
          </a:xfrm>
          <a:prstGeom prst="rect">
            <a:avLst/>
          </a:prstGeom>
          <a:noFill/>
        </p:spPr>
        <p:txBody>
          <a:bodyPr wrap="square" rtlCol="0">
            <a:spAutoFit/>
          </a:bodyPr>
          <a:lstStyle/>
          <a:p>
            <a:pPr marL="457200" indent="-457200">
              <a:buFont typeface="Arial" panose="020B0604020202020204" pitchFamily="34" charset="0"/>
              <a:buChar char="•"/>
            </a:pPr>
            <a:r>
              <a:rPr lang="ru-RU" sz="3600" dirty="0" smtClean="0"/>
              <a:t>Математика</a:t>
            </a:r>
            <a:r>
              <a:rPr lang="en-US" sz="3600" dirty="0" smtClean="0"/>
              <a:t>: </a:t>
            </a:r>
            <a:r>
              <a:rPr lang="ru-RU" sz="3600" dirty="0"/>
              <a:t> </a:t>
            </a:r>
            <a:r>
              <a:rPr lang="ru-RU" sz="3600" dirty="0" smtClean="0"/>
              <a:t>16</a:t>
            </a:r>
            <a:r>
              <a:rPr lang="en-US" sz="3600" dirty="0" smtClean="0"/>
              <a:t> </a:t>
            </a:r>
            <a:r>
              <a:rPr lang="ru-RU" sz="3600" dirty="0" smtClean="0"/>
              <a:t>348</a:t>
            </a:r>
            <a:r>
              <a:rPr lang="en-US" sz="3600" dirty="0" smtClean="0"/>
              <a:t> </a:t>
            </a:r>
            <a:r>
              <a:rPr lang="ru-RU" sz="3600" dirty="0" smtClean="0"/>
              <a:t>94</a:t>
            </a:r>
            <a:r>
              <a:rPr lang="en-US" sz="3600" dirty="0" smtClean="0"/>
              <a:t>5</a:t>
            </a:r>
            <a:r>
              <a:rPr lang="ru-RU" sz="3600" dirty="0" smtClean="0"/>
              <a:t> школьников</a:t>
            </a:r>
            <a:r>
              <a:rPr lang="en-US" sz="3600" dirty="0" smtClean="0"/>
              <a:t> -&gt; </a:t>
            </a:r>
            <a:r>
              <a:rPr lang="ru-RU" sz="3600" dirty="0" smtClean="0"/>
              <a:t>получаем</a:t>
            </a:r>
            <a:r>
              <a:rPr lang="en-US" sz="3600" dirty="0" smtClean="0"/>
              <a:t> ~ </a:t>
            </a:r>
            <a:r>
              <a:rPr lang="ru-RU" sz="3600" dirty="0" smtClean="0"/>
              <a:t>567</a:t>
            </a:r>
            <a:r>
              <a:rPr lang="en-US" sz="3600" dirty="0" smtClean="0"/>
              <a:t> </a:t>
            </a:r>
            <a:r>
              <a:rPr lang="ru-RU" sz="3600" dirty="0" smtClean="0"/>
              <a:t>ун. пользователей</a:t>
            </a:r>
            <a:r>
              <a:rPr lang="en-US" sz="3600" dirty="0" smtClean="0"/>
              <a:t> -&gt; 10-20k </a:t>
            </a:r>
            <a:r>
              <a:rPr lang="ru-RU" sz="3600" dirty="0" smtClean="0"/>
              <a:t>хитов в секунду</a:t>
            </a:r>
            <a:r>
              <a:rPr lang="en-US" sz="3600" dirty="0" smtClean="0"/>
              <a:t> ( not 40!))</a:t>
            </a:r>
          </a:p>
          <a:p>
            <a:pPr marL="457200" indent="-457200">
              <a:buFont typeface="Arial" panose="020B0604020202020204" pitchFamily="34" charset="0"/>
              <a:buChar char="•"/>
            </a:pPr>
            <a:r>
              <a:rPr lang="en-US" sz="3600" dirty="0" smtClean="0"/>
              <a:t>web sites/SQL Azure</a:t>
            </a:r>
            <a:r>
              <a:rPr lang="ru-RU" sz="3600" dirty="0" smtClean="0"/>
              <a:t> –</a:t>
            </a:r>
            <a:r>
              <a:rPr lang="en-US" sz="3600" dirty="0" smtClean="0"/>
              <a:t>&gt; Premium offer</a:t>
            </a:r>
          </a:p>
          <a:p>
            <a:pPr marL="457200" indent="-457200">
              <a:buFont typeface="Arial" panose="020B0604020202020204" pitchFamily="34" charset="0"/>
              <a:buChar char="•"/>
            </a:pPr>
            <a:r>
              <a:rPr lang="ru-RU" sz="3600" dirty="0" smtClean="0"/>
              <a:t>Делаем реплики</a:t>
            </a:r>
            <a:r>
              <a:rPr lang="en-US" sz="3600" dirty="0" smtClean="0"/>
              <a:t> ( </a:t>
            </a:r>
            <a:r>
              <a:rPr lang="ru-RU" sz="3600" dirty="0" smtClean="0"/>
              <a:t>как минимум</a:t>
            </a:r>
            <a:r>
              <a:rPr lang="en-US" sz="3600" dirty="0" smtClean="0"/>
              <a:t> 5 ) + </a:t>
            </a:r>
            <a:r>
              <a:rPr lang="en-US" sz="3600" dirty="0" err="1"/>
              <a:t>T</a:t>
            </a:r>
            <a:r>
              <a:rPr lang="en-US" sz="3600" dirty="0" err="1" smtClean="0"/>
              <a:t>rafficmanager</a:t>
            </a:r>
            <a:endParaRPr lang="en-US" sz="3600" dirty="0" smtClean="0"/>
          </a:p>
          <a:p>
            <a:pPr marL="457200" indent="-457200">
              <a:buFont typeface="Arial" panose="020B0604020202020204" pitchFamily="34" charset="0"/>
              <a:buChar char="•"/>
            </a:pPr>
            <a:r>
              <a:rPr lang="ru-RU" sz="3600" dirty="0" smtClean="0"/>
              <a:t>Контактируем с</a:t>
            </a:r>
            <a:r>
              <a:rPr lang="en-US" sz="3600" dirty="0" smtClean="0"/>
              <a:t> DNS </a:t>
            </a:r>
            <a:r>
              <a:rPr lang="ru-RU" sz="3600" dirty="0" smtClean="0"/>
              <a:t>хостингом</a:t>
            </a:r>
            <a:endParaRPr lang="en-US" sz="3600" dirty="0" smtClean="0"/>
          </a:p>
          <a:p>
            <a:pPr marL="457200" indent="-457200">
              <a:buFont typeface="Arial" panose="020B0604020202020204" pitchFamily="34" charset="0"/>
              <a:buChar char="•"/>
            </a:pPr>
            <a:r>
              <a:rPr lang="ru-RU" sz="3600" dirty="0" smtClean="0"/>
              <a:t>Запускаем нагрузочные тесты</a:t>
            </a:r>
            <a:endParaRPr lang="en-US" sz="3600" dirty="0" smtClean="0"/>
          </a:p>
          <a:p>
            <a:pPr marL="457200" indent="-457200">
              <a:buFont typeface="Arial" panose="020B0604020202020204" pitchFamily="34" charset="0"/>
              <a:buChar char="•"/>
            </a:pPr>
            <a:endParaRPr lang="en-US" sz="3600" dirty="0" smtClean="0"/>
          </a:p>
        </p:txBody>
      </p:sp>
    </p:spTree>
    <p:extLst>
      <p:ext uri="{BB962C8B-B14F-4D97-AF65-F5344CB8AC3E}">
        <p14:creationId xmlns:p14="http://schemas.microsoft.com/office/powerpoint/2010/main" val="127070986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Rectangle 5"/>
          <p:cNvSpPr/>
          <p:nvPr/>
        </p:nvSpPr>
        <p:spPr bwMode="black">
          <a:xfrm>
            <a:off x="6339525" y="2752367"/>
            <a:ext cx="3975967" cy="2590799"/>
          </a:xfrm>
          <a:prstGeom prst="rect">
            <a:avLst/>
          </a:prstGeom>
          <a:noFill/>
          <a:ln w="9525">
            <a:gradFill>
              <a:gsLst>
                <a:gs pos="0">
                  <a:srgbClr val="FFFFFF">
                    <a:alpha val="28000"/>
                  </a:srgbClr>
                </a:gs>
                <a:gs pos="50000">
                  <a:srgbClr val="FFFFFF">
                    <a:alpha val="68000"/>
                  </a:srgbClr>
                </a:gs>
                <a:gs pos="100000">
                  <a:srgbClr val="FFFFFF">
                    <a:alpha val="31000"/>
                  </a:srgbClr>
                </a:gs>
              </a:gsLst>
              <a:lin ang="540000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1" tIns="304739" rIns="91421" bIns="45711" numCol="1" rtlCol="0" anchor="t" anchorCtr="0" compatLnSpc="1">
            <a:prstTxWarp prst="textNoShape">
              <a:avLst/>
            </a:prstTxWarp>
          </a:bodyPr>
          <a:lstStyle/>
          <a:p>
            <a:pPr algn="ctr" defTabSz="914325" fontAlgn="base">
              <a:lnSpc>
                <a:spcPct val="80000"/>
              </a:lnSpc>
              <a:spcBef>
                <a:spcPct val="0"/>
              </a:spcBef>
              <a:spcAft>
                <a:spcPct val="0"/>
              </a:spcAft>
              <a:buClr>
                <a:srgbClr val="FFFF99"/>
              </a:buClr>
              <a:buSzPct val="120000"/>
              <a:defRPr/>
            </a:pPr>
            <a:endParaRPr lang="en-US" altLang="zh-CN" sz="5500" spc="-125" dirty="0">
              <a:ln w="18415" cmpd="sng">
                <a:noFill/>
                <a:prstDash val="solid"/>
              </a:ln>
              <a:solidFill>
                <a:srgbClr val="000000"/>
              </a:solidFill>
              <a:effectLst>
                <a:glow rad="101600">
                  <a:srgbClr val="CCECFF"/>
                </a:glow>
                <a:innerShdw blurRad="114300">
                  <a:prstClr val="black"/>
                </a:innerShdw>
              </a:effectLst>
              <a:latin typeface="Segoe"/>
            </a:endParaRPr>
          </a:p>
        </p:txBody>
      </p:sp>
      <p:sp>
        <p:nvSpPr>
          <p:cNvPr id="7" name="Rectangle 6"/>
          <p:cNvSpPr/>
          <p:nvPr/>
        </p:nvSpPr>
        <p:spPr bwMode="black">
          <a:xfrm>
            <a:off x="1637478" y="2732590"/>
            <a:ext cx="4053699" cy="2601300"/>
          </a:xfrm>
          <a:prstGeom prst="rect">
            <a:avLst/>
          </a:prstGeom>
          <a:noFill/>
          <a:ln w="9525">
            <a:gradFill>
              <a:gsLst>
                <a:gs pos="0">
                  <a:srgbClr val="FFFFFF">
                    <a:alpha val="28000"/>
                  </a:srgbClr>
                </a:gs>
                <a:gs pos="50000">
                  <a:srgbClr val="FFFFFF">
                    <a:alpha val="68000"/>
                  </a:srgbClr>
                </a:gs>
                <a:gs pos="100000">
                  <a:srgbClr val="FFFFFF">
                    <a:alpha val="31000"/>
                  </a:srgbClr>
                </a:gs>
              </a:gsLst>
              <a:lin ang="540000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1" tIns="304739" rIns="91421" bIns="45711" numCol="1" rtlCol="0" anchor="t" anchorCtr="0" compatLnSpc="1">
            <a:prstTxWarp prst="textNoShape">
              <a:avLst/>
            </a:prstTxWarp>
          </a:bodyPr>
          <a:lstStyle/>
          <a:p>
            <a:pPr algn="ctr" defTabSz="914325" fontAlgn="base">
              <a:lnSpc>
                <a:spcPct val="80000"/>
              </a:lnSpc>
              <a:spcBef>
                <a:spcPct val="0"/>
              </a:spcBef>
              <a:spcAft>
                <a:spcPct val="0"/>
              </a:spcAft>
              <a:buClr>
                <a:srgbClr val="FFFF99"/>
              </a:buClr>
              <a:buSzPct val="120000"/>
              <a:defRPr/>
            </a:pPr>
            <a:endParaRPr lang="en-US" altLang="zh-CN" sz="5500" spc="-125" dirty="0">
              <a:ln w="18415" cmpd="sng">
                <a:noFill/>
                <a:prstDash val="solid"/>
              </a:ln>
              <a:solidFill>
                <a:srgbClr val="000000"/>
              </a:solidFill>
              <a:effectLst>
                <a:glow rad="101600">
                  <a:srgbClr val="CCECFF"/>
                </a:glow>
                <a:innerShdw blurRad="114300">
                  <a:prstClr val="black"/>
                </a:innerShdw>
              </a:effectLst>
              <a:latin typeface="Segoe"/>
            </a:endParaRPr>
          </a:p>
        </p:txBody>
      </p:sp>
      <p:sp>
        <p:nvSpPr>
          <p:cNvPr id="8" name="TextBox 7"/>
          <p:cNvSpPr txBox="1"/>
          <p:nvPr/>
        </p:nvSpPr>
        <p:spPr>
          <a:xfrm>
            <a:off x="6170358" y="1945868"/>
            <a:ext cx="4619855" cy="806498"/>
          </a:xfrm>
          <a:prstGeom prst="rect">
            <a:avLst/>
          </a:prstGeom>
          <a:noFill/>
        </p:spPr>
        <p:txBody>
          <a:bodyPr wrap="square" rtlCol="0">
            <a:noAutofit/>
          </a:bodyPr>
          <a:lstStyle/>
          <a:p>
            <a:pPr defTabSz="912813">
              <a:spcBef>
                <a:spcPct val="0"/>
              </a:spcBef>
            </a:pPr>
            <a:r>
              <a:rPr lang="en-US" sz="1400" dirty="0">
                <a:solidFill>
                  <a:srgbClr val="00B0F0"/>
                </a:solidFill>
                <a:cs typeface="Arial" charset="0"/>
              </a:rPr>
              <a:t>•  </a:t>
            </a:r>
            <a:r>
              <a:rPr lang="en-US" sz="1400" dirty="0">
                <a:solidFill>
                  <a:srgbClr val="292929"/>
                </a:solidFill>
                <a:cs typeface="Arial" charset="0"/>
              </a:rPr>
              <a:t>turbotax.com</a:t>
            </a:r>
            <a:r>
              <a:rPr lang="en-US" sz="1400" dirty="0">
                <a:solidFill>
                  <a:prstClr val="black"/>
                </a:solidFill>
                <a:cs typeface="Arial" charset="0"/>
              </a:rPr>
              <a:t> 	</a:t>
            </a:r>
            <a:r>
              <a:rPr lang="en-US" sz="1400" dirty="0">
                <a:solidFill>
                  <a:srgbClr val="C00000"/>
                </a:solidFill>
                <a:cs typeface="Arial" charset="0"/>
              </a:rPr>
              <a:t>•</a:t>
            </a:r>
            <a:r>
              <a:rPr lang="en-US" sz="1400" dirty="0">
                <a:solidFill>
                  <a:srgbClr val="00B0F0"/>
                </a:solidFill>
                <a:cs typeface="Arial" charset="0"/>
              </a:rPr>
              <a:t> </a:t>
            </a:r>
            <a:r>
              <a:rPr lang="en-US" sz="1400" dirty="0">
                <a:solidFill>
                  <a:srgbClr val="292929"/>
                </a:solidFill>
                <a:cs typeface="Arial" charset="0"/>
              </a:rPr>
              <a:t>taxcut.com</a:t>
            </a:r>
          </a:p>
          <a:p>
            <a:pPr defTabSz="912813">
              <a:spcBef>
                <a:spcPct val="0"/>
              </a:spcBef>
            </a:pPr>
            <a:r>
              <a:rPr lang="en-US" sz="1400" dirty="0">
                <a:solidFill>
                  <a:srgbClr val="FFC000"/>
                </a:solidFill>
                <a:cs typeface="Arial" charset="0"/>
              </a:rPr>
              <a:t>•</a:t>
            </a:r>
            <a:r>
              <a:rPr lang="en-US" sz="1400" dirty="0">
                <a:solidFill>
                  <a:srgbClr val="00B0F0"/>
                </a:solidFill>
                <a:cs typeface="Arial" charset="0"/>
              </a:rPr>
              <a:t>  </a:t>
            </a:r>
            <a:r>
              <a:rPr lang="en-US" sz="1400" dirty="0">
                <a:solidFill>
                  <a:srgbClr val="292929"/>
                </a:solidFill>
                <a:cs typeface="Arial" charset="0"/>
              </a:rPr>
              <a:t>hrblock.com</a:t>
            </a:r>
            <a:r>
              <a:rPr lang="en-US" sz="1400" dirty="0">
                <a:solidFill>
                  <a:srgbClr val="CCCC00"/>
                </a:solidFill>
                <a:cs typeface="Arial" charset="0"/>
              </a:rPr>
              <a:t> 	</a:t>
            </a:r>
            <a:r>
              <a:rPr lang="en-US" sz="1400" dirty="0">
                <a:solidFill>
                  <a:srgbClr val="00B050"/>
                </a:solidFill>
                <a:cs typeface="Arial" charset="0"/>
              </a:rPr>
              <a:t>•</a:t>
            </a:r>
            <a:r>
              <a:rPr lang="en-US" sz="1400" dirty="0">
                <a:solidFill>
                  <a:srgbClr val="00B0F0"/>
                </a:solidFill>
                <a:cs typeface="Arial" charset="0"/>
              </a:rPr>
              <a:t> </a:t>
            </a:r>
            <a:r>
              <a:rPr lang="en-US" sz="1400" dirty="0">
                <a:solidFill>
                  <a:srgbClr val="292929"/>
                </a:solidFill>
                <a:cs typeface="Arial" charset="0"/>
              </a:rPr>
              <a:t>taxact.com</a:t>
            </a:r>
          </a:p>
        </p:txBody>
      </p:sp>
      <p:sp>
        <p:nvSpPr>
          <p:cNvPr id="10" name="TextBox 9"/>
          <p:cNvSpPr txBox="1"/>
          <p:nvPr/>
        </p:nvSpPr>
        <p:spPr>
          <a:xfrm>
            <a:off x="1364568" y="2668853"/>
            <a:ext cx="2915055" cy="734728"/>
          </a:xfrm>
          <a:prstGeom prst="rect">
            <a:avLst/>
          </a:prstGeom>
          <a:noFill/>
        </p:spPr>
        <p:txBody>
          <a:bodyPr wrap="square" rtlCol="0" anchor="ctr">
            <a:noAutofit/>
          </a:bodyPr>
          <a:lstStyle/>
          <a:p>
            <a:pPr algn="ctr" defTabSz="912813"/>
            <a:r>
              <a:rPr lang="en-US" sz="1600" b="1" dirty="0">
                <a:solidFill>
                  <a:srgbClr val="1288B2"/>
                </a:solidFill>
                <a:latin typeface="Calibri"/>
                <a:cs typeface="Arial" charset="0"/>
              </a:rPr>
              <a:t>~4x </a:t>
            </a:r>
            <a:r>
              <a:rPr lang="ru-RU" sz="1600" b="1" dirty="0">
                <a:solidFill>
                  <a:srgbClr val="1288B2"/>
                </a:solidFill>
                <a:latin typeface="Calibri"/>
                <a:cs typeface="Arial" charset="0"/>
              </a:rPr>
              <a:t>кратный рост нагрузки -</a:t>
            </a:r>
          </a:p>
          <a:p>
            <a:pPr algn="ctr" defTabSz="912813"/>
            <a:r>
              <a:rPr lang="ru-RU" sz="1600" b="1" dirty="0">
                <a:solidFill>
                  <a:srgbClr val="1288B2"/>
                </a:solidFill>
                <a:latin typeface="Calibri"/>
                <a:cs typeface="Arial" charset="0"/>
              </a:rPr>
              <a:t>новогодние распродажи</a:t>
            </a:r>
            <a:endParaRPr lang="en-US" sz="1600" b="1" dirty="0">
              <a:solidFill>
                <a:srgbClr val="1288B2"/>
              </a:solidFill>
              <a:latin typeface="Calibri"/>
              <a:cs typeface="Arial" charset="0"/>
            </a:endParaRPr>
          </a:p>
        </p:txBody>
      </p:sp>
      <p:sp>
        <p:nvSpPr>
          <p:cNvPr id="11" name="TextBox 10"/>
          <p:cNvSpPr txBox="1"/>
          <p:nvPr/>
        </p:nvSpPr>
        <p:spPr>
          <a:xfrm>
            <a:off x="6339524" y="2649885"/>
            <a:ext cx="3174893" cy="753696"/>
          </a:xfrm>
          <a:prstGeom prst="rect">
            <a:avLst/>
          </a:prstGeom>
          <a:noFill/>
        </p:spPr>
        <p:txBody>
          <a:bodyPr wrap="square" rtlCol="0" anchor="ctr">
            <a:noAutofit/>
          </a:bodyPr>
          <a:lstStyle/>
          <a:p>
            <a:pPr defTabSz="912813"/>
            <a:r>
              <a:rPr lang="en-US" sz="1600" b="1" dirty="0">
                <a:solidFill>
                  <a:srgbClr val="1288B2"/>
                </a:solidFill>
                <a:latin typeface="Calibri"/>
                <a:cs typeface="Arial" charset="0"/>
              </a:rPr>
              <a:t>~10x </a:t>
            </a:r>
            <a:r>
              <a:rPr lang="ru-RU" sz="1600" b="1" dirty="0">
                <a:solidFill>
                  <a:srgbClr val="1288B2"/>
                </a:solidFill>
                <a:latin typeface="Calibri"/>
                <a:cs typeface="Arial" charset="0"/>
              </a:rPr>
              <a:t>кратный рост -</a:t>
            </a:r>
            <a:endParaRPr lang="en-US" sz="1600" b="1" dirty="0">
              <a:solidFill>
                <a:srgbClr val="1288B2"/>
              </a:solidFill>
              <a:latin typeface="Calibri"/>
              <a:cs typeface="Arial" charset="0"/>
            </a:endParaRPr>
          </a:p>
          <a:p>
            <a:pPr defTabSz="912813"/>
            <a:r>
              <a:rPr lang="ru-RU" sz="1600" b="1" dirty="0">
                <a:solidFill>
                  <a:srgbClr val="1288B2"/>
                </a:solidFill>
                <a:latin typeface="Calibri"/>
                <a:cs typeface="Arial" charset="0"/>
              </a:rPr>
              <a:t>подача налоговых деклараций</a:t>
            </a:r>
            <a:endParaRPr lang="en-US" sz="1600" b="1" dirty="0">
              <a:solidFill>
                <a:srgbClr val="1288B2"/>
              </a:solidFill>
              <a:latin typeface="Calibri"/>
              <a:cs typeface="Arial" charset="0"/>
            </a:endParaRPr>
          </a:p>
        </p:txBody>
      </p:sp>
      <p:sp>
        <p:nvSpPr>
          <p:cNvPr id="12" name="Freeform 11"/>
          <p:cNvSpPr/>
          <p:nvPr/>
        </p:nvSpPr>
        <p:spPr>
          <a:xfrm>
            <a:off x="1644794" y="2933723"/>
            <a:ext cx="4046382" cy="1954011"/>
          </a:xfrm>
          <a:custGeom>
            <a:avLst/>
            <a:gdLst>
              <a:gd name="connsiteX0" fmla="*/ 0 w 3386937"/>
              <a:gd name="connsiteY0" fmla="*/ 1902258 h 1954011"/>
              <a:gd name="connsiteX1" fmla="*/ 58521 w 3386937"/>
              <a:gd name="connsiteY1" fmla="*/ 1916888 h 1954011"/>
              <a:gd name="connsiteX2" fmla="*/ 80467 w 3386937"/>
              <a:gd name="connsiteY2" fmla="*/ 1851051 h 1954011"/>
              <a:gd name="connsiteX3" fmla="*/ 87782 w 3386937"/>
              <a:gd name="connsiteY3" fmla="*/ 1653541 h 1954011"/>
              <a:gd name="connsiteX4" fmla="*/ 109728 w 3386937"/>
              <a:gd name="connsiteY4" fmla="*/ 1807160 h 1954011"/>
              <a:gd name="connsiteX5" fmla="*/ 124358 w 3386937"/>
              <a:gd name="connsiteY5" fmla="*/ 1763269 h 1954011"/>
              <a:gd name="connsiteX6" fmla="*/ 168249 w 3386937"/>
              <a:gd name="connsiteY6" fmla="*/ 1843736 h 1954011"/>
              <a:gd name="connsiteX7" fmla="*/ 190195 w 3386937"/>
              <a:gd name="connsiteY7" fmla="*/ 1770584 h 1954011"/>
              <a:gd name="connsiteX8" fmla="*/ 204825 w 3386937"/>
              <a:gd name="connsiteY8" fmla="*/ 1814475 h 1954011"/>
              <a:gd name="connsiteX9" fmla="*/ 226771 w 3386937"/>
              <a:gd name="connsiteY9" fmla="*/ 1829106 h 1954011"/>
              <a:gd name="connsiteX10" fmla="*/ 248717 w 3386937"/>
              <a:gd name="connsiteY10" fmla="*/ 1777899 h 1954011"/>
              <a:gd name="connsiteX11" fmla="*/ 277977 w 3386937"/>
              <a:gd name="connsiteY11" fmla="*/ 1829106 h 1954011"/>
              <a:gd name="connsiteX12" fmla="*/ 299923 w 3386937"/>
              <a:gd name="connsiteY12" fmla="*/ 1777899 h 1954011"/>
              <a:gd name="connsiteX13" fmla="*/ 329184 w 3386937"/>
              <a:gd name="connsiteY13" fmla="*/ 1821791 h 1954011"/>
              <a:gd name="connsiteX14" fmla="*/ 358445 w 3386937"/>
              <a:gd name="connsiteY14" fmla="*/ 1792530 h 1954011"/>
              <a:gd name="connsiteX15" fmla="*/ 380390 w 3386937"/>
              <a:gd name="connsiteY15" fmla="*/ 1821791 h 1954011"/>
              <a:gd name="connsiteX16" fmla="*/ 416966 w 3386937"/>
              <a:gd name="connsiteY16" fmla="*/ 1792530 h 1954011"/>
              <a:gd name="connsiteX17" fmla="*/ 431597 w 3386937"/>
              <a:gd name="connsiteY17" fmla="*/ 1792530 h 1954011"/>
              <a:gd name="connsiteX18" fmla="*/ 438912 w 3386937"/>
              <a:gd name="connsiteY18" fmla="*/ 1807160 h 1954011"/>
              <a:gd name="connsiteX19" fmla="*/ 468173 w 3386937"/>
              <a:gd name="connsiteY19" fmla="*/ 1814475 h 1954011"/>
              <a:gd name="connsiteX20" fmla="*/ 512064 w 3386937"/>
              <a:gd name="connsiteY20" fmla="*/ 1880312 h 1954011"/>
              <a:gd name="connsiteX21" fmla="*/ 526694 w 3386937"/>
              <a:gd name="connsiteY21" fmla="*/ 1814475 h 1954011"/>
              <a:gd name="connsiteX22" fmla="*/ 570585 w 3386937"/>
              <a:gd name="connsiteY22" fmla="*/ 1843736 h 1954011"/>
              <a:gd name="connsiteX23" fmla="*/ 592531 w 3386937"/>
              <a:gd name="connsiteY23" fmla="*/ 1799845 h 1954011"/>
              <a:gd name="connsiteX24" fmla="*/ 621792 w 3386937"/>
              <a:gd name="connsiteY24" fmla="*/ 1851051 h 1954011"/>
              <a:gd name="connsiteX25" fmla="*/ 643737 w 3386937"/>
              <a:gd name="connsiteY25" fmla="*/ 1843736 h 1954011"/>
              <a:gd name="connsiteX26" fmla="*/ 665683 w 3386937"/>
              <a:gd name="connsiteY26" fmla="*/ 1865682 h 1954011"/>
              <a:gd name="connsiteX27" fmla="*/ 694944 w 3386937"/>
              <a:gd name="connsiteY27" fmla="*/ 1792530 h 1954011"/>
              <a:gd name="connsiteX28" fmla="*/ 716889 w 3386937"/>
              <a:gd name="connsiteY28" fmla="*/ 1887627 h 1954011"/>
              <a:gd name="connsiteX29" fmla="*/ 746150 w 3386937"/>
              <a:gd name="connsiteY29" fmla="*/ 1872997 h 1954011"/>
              <a:gd name="connsiteX30" fmla="*/ 760781 w 3386937"/>
              <a:gd name="connsiteY30" fmla="*/ 1821791 h 1954011"/>
              <a:gd name="connsiteX31" fmla="*/ 768096 w 3386937"/>
              <a:gd name="connsiteY31" fmla="*/ 1851051 h 1954011"/>
              <a:gd name="connsiteX32" fmla="*/ 782726 w 3386937"/>
              <a:gd name="connsiteY32" fmla="*/ 1880312 h 1954011"/>
              <a:gd name="connsiteX33" fmla="*/ 797357 w 3386937"/>
              <a:gd name="connsiteY33" fmla="*/ 1829106 h 1954011"/>
              <a:gd name="connsiteX34" fmla="*/ 841248 w 3386937"/>
              <a:gd name="connsiteY34" fmla="*/ 1858367 h 1954011"/>
              <a:gd name="connsiteX35" fmla="*/ 855878 w 3386937"/>
              <a:gd name="connsiteY35" fmla="*/ 1887627 h 1954011"/>
              <a:gd name="connsiteX36" fmla="*/ 885139 w 3386937"/>
              <a:gd name="connsiteY36" fmla="*/ 1909573 h 1954011"/>
              <a:gd name="connsiteX37" fmla="*/ 921715 w 3386937"/>
              <a:gd name="connsiteY37" fmla="*/ 1836421 h 1954011"/>
              <a:gd name="connsiteX38" fmla="*/ 972921 w 3386937"/>
              <a:gd name="connsiteY38" fmla="*/ 1865682 h 1954011"/>
              <a:gd name="connsiteX39" fmla="*/ 980237 w 3386937"/>
              <a:gd name="connsiteY39" fmla="*/ 1807160 h 1954011"/>
              <a:gd name="connsiteX40" fmla="*/ 987552 w 3386937"/>
              <a:gd name="connsiteY40" fmla="*/ 1843736 h 1954011"/>
              <a:gd name="connsiteX41" fmla="*/ 1024128 w 3386937"/>
              <a:gd name="connsiteY41" fmla="*/ 1799845 h 1954011"/>
              <a:gd name="connsiteX42" fmla="*/ 1082649 w 3386937"/>
              <a:gd name="connsiteY42" fmla="*/ 1858367 h 1954011"/>
              <a:gd name="connsiteX43" fmla="*/ 1082649 w 3386937"/>
              <a:gd name="connsiteY43" fmla="*/ 1836421 h 1954011"/>
              <a:gd name="connsiteX44" fmla="*/ 1111910 w 3386937"/>
              <a:gd name="connsiteY44" fmla="*/ 1872997 h 1954011"/>
              <a:gd name="connsiteX45" fmla="*/ 1148486 w 3386937"/>
              <a:gd name="connsiteY45" fmla="*/ 1799845 h 1954011"/>
              <a:gd name="connsiteX46" fmla="*/ 1163117 w 3386937"/>
              <a:gd name="connsiteY46" fmla="*/ 1865682 h 1954011"/>
              <a:gd name="connsiteX47" fmla="*/ 1192377 w 3386937"/>
              <a:gd name="connsiteY47" fmla="*/ 1770584 h 1954011"/>
              <a:gd name="connsiteX48" fmla="*/ 1199693 w 3386937"/>
              <a:gd name="connsiteY48" fmla="*/ 1763269 h 1954011"/>
              <a:gd name="connsiteX49" fmla="*/ 1228953 w 3386937"/>
              <a:gd name="connsiteY49" fmla="*/ 1821791 h 1954011"/>
              <a:gd name="connsiteX50" fmla="*/ 1250899 w 3386937"/>
              <a:gd name="connsiteY50" fmla="*/ 1777899 h 1954011"/>
              <a:gd name="connsiteX51" fmla="*/ 1265529 w 3386937"/>
              <a:gd name="connsiteY51" fmla="*/ 1792530 h 1954011"/>
              <a:gd name="connsiteX52" fmla="*/ 1287475 w 3386937"/>
              <a:gd name="connsiteY52" fmla="*/ 1799845 h 1954011"/>
              <a:gd name="connsiteX53" fmla="*/ 1302105 w 3386937"/>
              <a:gd name="connsiteY53" fmla="*/ 1777899 h 1954011"/>
              <a:gd name="connsiteX54" fmla="*/ 1324051 w 3386937"/>
              <a:gd name="connsiteY54" fmla="*/ 1814475 h 1954011"/>
              <a:gd name="connsiteX55" fmla="*/ 1367942 w 3386937"/>
              <a:gd name="connsiteY55" fmla="*/ 1785215 h 1954011"/>
              <a:gd name="connsiteX56" fmla="*/ 1419149 w 3386937"/>
              <a:gd name="connsiteY56" fmla="*/ 1807160 h 1954011"/>
              <a:gd name="connsiteX57" fmla="*/ 1441094 w 3386937"/>
              <a:gd name="connsiteY57" fmla="*/ 1785215 h 1954011"/>
              <a:gd name="connsiteX58" fmla="*/ 1448409 w 3386937"/>
              <a:gd name="connsiteY58" fmla="*/ 1851051 h 1954011"/>
              <a:gd name="connsiteX59" fmla="*/ 1470355 w 3386937"/>
              <a:gd name="connsiteY59" fmla="*/ 1821791 h 1954011"/>
              <a:gd name="connsiteX60" fmla="*/ 1484985 w 3386937"/>
              <a:gd name="connsiteY60" fmla="*/ 1821791 h 1954011"/>
              <a:gd name="connsiteX61" fmla="*/ 1543507 w 3386937"/>
              <a:gd name="connsiteY61" fmla="*/ 1777899 h 1954011"/>
              <a:gd name="connsiteX62" fmla="*/ 1565453 w 3386937"/>
              <a:gd name="connsiteY62" fmla="*/ 1807160 h 1954011"/>
              <a:gd name="connsiteX63" fmla="*/ 1580083 w 3386937"/>
              <a:gd name="connsiteY63" fmla="*/ 1741323 h 1954011"/>
              <a:gd name="connsiteX64" fmla="*/ 1594713 w 3386937"/>
              <a:gd name="connsiteY64" fmla="*/ 1734008 h 1954011"/>
              <a:gd name="connsiteX65" fmla="*/ 1616659 w 3386937"/>
              <a:gd name="connsiteY65" fmla="*/ 1792530 h 1954011"/>
              <a:gd name="connsiteX66" fmla="*/ 1653235 w 3386937"/>
              <a:gd name="connsiteY66" fmla="*/ 1748639 h 1954011"/>
              <a:gd name="connsiteX67" fmla="*/ 1675181 w 3386937"/>
              <a:gd name="connsiteY67" fmla="*/ 1799845 h 1954011"/>
              <a:gd name="connsiteX68" fmla="*/ 1711757 w 3386937"/>
              <a:gd name="connsiteY68" fmla="*/ 1755954 h 1954011"/>
              <a:gd name="connsiteX69" fmla="*/ 1748333 w 3386937"/>
              <a:gd name="connsiteY69" fmla="*/ 1807160 h 1954011"/>
              <a:gd name="connsiteX70" fmla="*/ 1770278 w 3386937"/>
              <a:gd name="connsiteY70" fmla="*/ 1755954 h 1954011"/>
              <a:gd name="connsiteX71" fmla="*/ 1792224 w 3386937"/>
              <a:gd name="connsiteY71" fmla="*/ 1821791 h 1954011"/>
              <a:gd name="connsiteX72" fmla="*/ 1828800 w 3386937"/>
              <a:gd name="connsiteY72" fmla="*/ 1763269 h 1954011"/>
              <a:gd name="connsiteX73" fmla="*/ 1850745 w 3386937"/>
              <a:gd name="connsiteY73" fmla="*/ 1836421 h 1954011"/>
              <a:gd name="connsiteX74" fmla="*/ 1880006 w 3386937"/>
              <a:gd name="connsiteY74" fmla="*/ 1792530 h 1954011"/>
              <a:gd name="connsiteX75" fmla="*/ 1887321 w 3386937"/>
              <a:gd name="connsiteY75" fmla="*/ 1821791 h 1954011"/>
              <a:gd name="connsiteX76" fmla="*/ 1909267 w 3386937"/>
              <a:gd name="connsiteY76" fmla="*/ 1807160 h 1954011"/>
              <a:gd name="connsiteX77" fmla="*/ 1923897 w 3386937"/>
              <a:gd name="connsiteY77" fmla="*/ 1799845 h 1954011"/>
              <a:gd name="connsiteX78" fmla="*/ 1938528 w 3386937"/>
              <a:gd name="connsiteY78" fmla="*/ 1843736 h 1954011"/>
              <a:gd name="connsiteX79" fmla="*/ 1953158 w 3386937"/>
              <a:gd name="connsiteY79" fmla="*/ 1865682 h 1954011"/>
              <a:gd name="connsiteX80" fmla="*/ 1989734 w 3386937"/>
              <a:gd name="connsiteY80" fmla="*/ 1807160 h 1954011"/>
              <a:gd name="connsiteX81" fmla="*/ 2018995 w 3386937"/>
              <a:gd name="connsiteY81" fmla="*/ 1851051 h 1954011"/>
              <a:gd name="connsiteX82" fmla="*/ 2026310 w 3386937"/>
              <a:gd name="connsiteY82" fmla="*/ 1851051 h 1954011"/>
              <a:gd name="connsiteX83" fmla="*/ 2040941 w 3386937"/>
              <a:gd name="connsiteY83" fmla="*/ 1799845 h 1954011"/>
              <a:gd name="connsiteX84" fmla="*/ 2062886 w 3386937"/>
              <a:gd name="connsiteY84" fmla="*/ 1843736 h 1954011"/>
              <a:gd name="connsiteX85" fmla="*/ 2084832 w 3386937"/>
              <a:gd name="connsiteY85" fmla="*/ 1872997 h 1954011"/>
              <a:gd name="connsiteX86" fmla="*/ 2092147 w 3386937"/>
              <a:gd name="connsiteY86" fmla="*/ 1894943 h 1954011"/>
              <a:gd name="connsiteX87" fmla="*/ 2121408 w 3386937"/>
              <a:gd name="connsiteY87" fmla="*/ 1851051 h 1954011"/>
              <a:gd name="connsiteX88" fmla="*/ 2150669 w 3386937"/>
              <a:gd name="connsiteY88" fmla="*/ 1836421 h 1954011"/>
              <a:gd name="connsiteX89" fmla="*/ 2179929 w 3386937"/>
              <a:gd name="connsiteY89" fmla="*/ 1902258 h 1954011"/>
              <a:gd name="connsiteX90" fmla="*/ 2194560 w 3386937"/>
              <a:gd name="connsiteY90" fmla="*/ 1909573 h 1954011"/>
              <a:gd name="connsiteX91" fmla="*/ 2201875 w 3386937"/>
              <a:gd name="connsiteY91" fmla="*/ 1843736 h 1954011"/>
              <a:gd name="connsiteX92" fmla="*/ 2245766 w 3386937"/>
              <a:gd name="connsiteY92" fmla="*/ 1902258 h 1954011"/>
              <a:gd name="connsiteX93" fmla="*/ 2267712 w 3386937"/>
              <a:gd name="connsiteY93" fmla="*/ 1843736 h 1954011"/>
              <a:gd name="connsiteX94" fmla="*/ 2282342 w 3386937"/>
              <a:gd name="connsiteY94" fmla="*/ 1821791 h 1954011"/>
              <a:gd name="connsiteX95" fmla="*/ 2304288 w 3386937"/>
              <a:gd name="connsiteY95" fmla="*/ 1821791 h 1954011"/>
              <a:gd name="connsiteX96" fmla="*/ 2340864 w 3386937"/>
              <a:gd name="connsiteY96" fmla="*/ 1851051 h 1954011"/>
              <a:gd name="connsiteX97" fmla="*/ 2377440 w 3386937"/>
              <a:gd name="connsiteY97" fmla="*/ 1814475 h 1954011"/>
              <a:gd name="connsiteX98" fmla="*/ 2406701 w 3386937"/>
              <a:gd name="connsiteY98" fmla="*/ 1865682 h 1954011"/>
              <a:gd name="connsiteX99" fmla="*/ 2435961 w 3386937"/>
              <a:gd name="connsiteY99" fmla="*/ 1814475 h 1954011"/>
              <a:gd name="connsiteX100" fmla="*/ 2472537 w 3386937"/>
              <a:gd name="connsiteY100" fmla="*/ 1887627 h 1954011"/>
              <a:gd name="connsiteX101" fmla="*/ 2501798 w 3386937"/>
              <a:gd name="connsiteY101" fmla="*/ 1836421 h 1954011"/>
              <a:gd name="connsiteX102" fmla="*/ 2516429 w 3386937"/>
              <a:gd name="connsiteY102" fmla="*/ 1726693 h 1954011"/>
              <a:gd name="connsiteX103" fmla="*/ 2531059 w 3386937"/>
              <a:gd name="connsiteY103" fmla="*/ 1704747 h 1954011"/>
              <a:gd name="connsiteX104" fmla="*/ 2531059 w 3386937"/>
              <a:gd name="connsiteY104" fmla="*/ 1573074 h 1954011"/>
              <a:gd name="connsiteX105" fmla="*/ 2545689 w 3386937"/>
              <a:gd name="connsiteY105" fmla="*/ 1536498 h 1954011"/>
              <a:gd name="connsiteX106" fmla="*/ 2553005 w 3386937"/>
              <a:gd name="connsiteY106" fmla="*/ 1646226 h 1954011"/>
              <a:gd name="connsiteX107" fmla="*/ 2574950 w 3386937"/>
              <a:gd name="connsiteY107" fmla="*/ 1668171 h 1954011"/>
              <a:gd name="connsiteX108" fmla="*/ 2596896 w 3386937"/>
              <a:gd name="connsiteY108" fmla="*/ 1587704 h 1954011"/>
              <a:gd name="connsiteX109" fmla="*/ 2618841 w 3386937"/>
              <a:gd name="connsiteY109" fmla="*/ 1551128 h 1954011"/>
              <a:gd name="connsiteX110" fmla="*/ 2626157 w 3386937"/>
              <a:gd name="connsiteY110" fmla="*/ 1595019 h 1954011"/>
              <a:gd name="connsiteX111" fmla="*/ 2640787 w 3386937"/>
              <a:gd name="connsiteY111" fmla="*/ 1404824 h 1954011"/>
              <a:gd name="connsiteX112" fmla="*/ 2655417 w 3386937"/>
              <a:gd name="connsiteY112" fmla="*/ 1551128 h 1954011"/>
              <a:gd name="connsiteX113" fmla="*/ 2677363 w 3386937"/>
              <a:gd name="connsiteY113" fmla="*/ 1141477 h 1954011"/>
              <a:gd name="connsiteX114" fmla="*/ 2670048 w 3386937"/>
              <a:gd name="connsiteY114" fmla="*/ 753771 h 1954011"/>
              <a:gd name="connsiteX115" fmla="*/ 2691993 w 3386937"/>
              <a:gd name="connsiteY115" fmla="*/ 512370 h 1954011"/>
              <a:gd name="connsiteX116" fmla="*/ 2691993 w 3386937"/>
              <a:gd name="connsiteY116" fmla="*/ 300229 h 1954011"/>
              <a:gd name="connsiteX117" fmla="*/ 2691993 w 3386937"/>
              <a:gd name="connsiteY117" fmla="*/ 168555 h 1954011"/>
              <a:gd name="connsiteX118" fmla="*/ 2713939 w 3386937"/>
              <a:gd name="connsiteY118" fmla="*/ 306 h 1954011"/>
              <a:gd name="connsiteX119" fmla="*/ 2728569 w 3386937"/>
              <a:gd name="connsiteY119" fmla="*/ 212447 h 1954011"/>
              <a:gd name="connsiteX120" fmla="*/ 2728569 w 3386937"/>
              <a:gd name="connsiteY120" fmla="*/ 673304 h 1954011"/>
              <a:gd name="connsiteX121" fmla="*/ 2743200 w 3386937"/>
              <a:gd name="connsiteY121" fmla="*/ 892760 h 1954011"/>
              <a:gd name="connsiteX122" fmla="*/ 2750515 w 3386937"/>
              <a:gd name="connsiteY122" fmla="*/ 1046379 h 1954011"/>
              <a:gd name="connsiteX123" fmla="*/ 2750515 w 3386937"/>
              <a:gd name="connsiteY123" fmla="*/ 1309727 h 1954011"/>
              <a:gd name="connsiteX124" fmla="*/ 2765145 w 3386937"/>
              <a:gd name="connsiteY124" fmla="*/ 1119531 h 1954011"/>
              <a:gd name="connsiteX125" fmla="*/ 2779776 w 3386937"/>
              <a:gd name="connsiteY125" fmla="*/ 1251205 h 1954011"/>
              <a:gd name="connsiteX126" fmla="*/ 2809037 w 3386937"/>
              <a:gd name="connsiteY126" fmla="*/ 1368248 h 1954011"/>
              <a:gd name="connsiteX127" fmla="*/ 2830982 w 3386937"/>
              <a:gd name="connsiteY127" fmla="*/ 1207314 h 1954011"/>
              <a:gd name="connsiteX128" fmla="*/ 2860243 w 3386937"/>
              <a:gd name="connsiteY128" fmla="*/ 1295096 h 1954011"/>
              <a:gd name="connsiteX129" fmla="*/ 2889504 w 3386937"/>
              <a:gd name="connsiteY129" fmla="*/ 1360933 h 1954011"/>
              <a:gd name="connsiteX130" fmla="*/ 2896819 w 3386937"/>
              <a:gd name="connsiteY130" fmla="*/ 1441400 h 1954011"/>
              <a:gd name="connsiteX131" fmla="*/ 2911449 w 3386937"/>
              <a:gd name="connsiteY131" fmla="*/ 1360933 h 1954011"/>
              <a:gd name="connsiteX132" fmla="*/ 2940710 w 3386937"/>
              <a:gd name="connsiteY132" fmla="*/ 1251205 h 1954011"/>
              <a:gd name="connsiteX133" fmla="*/ 2955341 w 3386937"/>
              <a:gd name="connsiteY133" fmla="*/ 1368248 h 1954011"/>
              <a:gd name="connsiteX134" fmla="*/ 2962656 w 3386937"/>
              <a:gd name="connsiteY134" fmla="*/ 1616965 h 1954011"/>
              <a:gd name="connsiteX135" fmla="*/ 2977286 w 3386937"/>
              <a:gd name="connsiteY135" fmla="*/ 1690117 h 1954011"/>
              <a:gd name="connsiteX136" fmla="*/ 2991917 w 3386937"/>
              <a:gd name="connsiteY136" fmla="*/ 1653541 h 1954011"/>
              <a:gd name="connsiteX137" fmla="*/ 3006547 w 3386937"/>
              <a:gd name="connsiteY137" fmla="*/ 1734008 h 1954011"/>
              <a:gd name="connsiteX138" fmla="*/ 3013862 w 3386937"/>
              <a:gd name="connsiteY138" fmla="*/ 1821791 h 1954011"/>
              <a:gd name="connsiteX139" fmla="*/ 3028493 w 3386937"/>
              <a:gd name="connsiteY139" fmla="*/ 1902258 h 1954011"/>
              <a:gd name="connsiteX140" fmla="*/ 3057753 w 3386937"/>
              <a:gd name="connsiteY140" fmla="*/ 1872997 h 1954011"/>
              <a:gd name="connsiteX141" fmla="*/ 3087014 w 3386937"/>
              <a:gd name="connsiteY141" fmla="*/ 1916888 h 1954011"/>
              <a:gd name="connsiteX142" fmla="*/ 3116275 w 3386937"/>
              <a:gd name="connsiteY142" fmla="*/ 1843736 h 1954011"/>
              <a:gd name="connsiteX143" fmla="*/ 3145536 w 3386937"/>
              <a:gd name="connsiteY143" fmla="*/ 1924203 h 1954011"/>
              <a:gd name="connsiteX144" fmla="*/ 3167481 w 3386937"/>
              <a:gd name="connsiteY144" fmla="*/ 1887627 h 1954011"/>
              <a:gd name="connsiteX145" fmla="*/ 3196742 w 3386937"/>
              <a:gd name="connsiteY145" fmla="*/ 1953464 h 1954011"/>
              <a:gd name="connsiteX146" fmla="*/ 3226003 w 3386937"/>
              <a:gd name="connsiteY146" fmla="*/ 1843736 h 1954011"/>
              <a:gd name="connsiteX147" fmla="*/ 3255264 w 3386937"/>
              <a:gd name="connsiteY147" fmla="*/ 1887627 h 1954011"/>
              <a:gd name="connsiteX148" fmla="*/ 3277209 w 3386937"/>
              <a:gd name="connsiteY148" fmla="*/ 1843736 h 1954011"/>
              <a:gd name="connsiteX149" fmla="*/ 3299155 w 3386937"/>
              <a:gd name="connsiteY149" fmla="*/ 1894943 h 1954011"/>
              <a:gd name="connsiteX150" fmla="*/ 3328416 w 3386937"/>
              <a:gd name="connsiteY150" fmla="*/ 1851051 h 1954011"/>
              <a:gd name="connsiteX151" fmla="*/ 3364992 w 3386937"/>
              <a:gd name="connsiteY151" fmla="*/ 1902258 h 1954011"/>
              <a:gd name="connsiteX152" fmla="*/ 3386937 w 3386937"/>
              <a:gd name="connsiteY152" fmla="*/ 1865682 h 1954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Lst>
            <a:rect l="l" t="t" r="r" b="b"/>
            <a:pathLst>
              <a:path w="3386937" h="1954011">
                <a:moveTo>
                  <a:pt x="0" y="1902258"/>
                </a:moveTo>
                <a:cubicBezTo>
                  <a:pt x="22555" y="1913840"/>
                  <a:pt x="45110" y="1925423"/>
                  <a:pt x="58521" y="1916888"/>
                </a:cubicBezTo>
                <a:cubicBezTo>
                  <a:pt x="71932" y="1908354"/>
                  <a:pt x="75590" y="1894942"/>
                  <a:pt x="80467" y="1851051"/>
                </a:cubicBezTo>
                <a:cubicBezTo>
                  <a:pt x="85344" y="1807160"/>
                  <a:pt x="82905" y="1660856"/>
                  <a:pt x="87782" y="1653541"/>
                </a:cubicBezTo>
                <a:cubicBezTo>
                  <a:pt x="92659" y="1646226"/>
                  <a:pt x="103632" y="1788872"/>
                  <a:pt x="109728" y="1807160"/>
                </a:cubicBezTo>
                <a:cubicBezTo>
                  <a:pt x="115824" y="1825448"/>
                  <a:pt x="114605" y="1757173"/>
                  <a:pt x="124358" y="1763269"/>
                </a:cubicBezTo>
                <a:cubicBezTo>
                  <a:pt x="134111" y="1769365"/>
                  <a:pt x="157276" y="1842517"/>
                  <a:pt x="168249" y="1843736"/>
                </a:cubicBezTo>
                <a:cubicBezTo>
                  <a:pt x="179222" y="1844955"/>
                  <a:pt x="184099" y="1775461"/>
                  <a:pt x="190195" y="1770584"/>
                </a:cubicBezTo>
                <a:cubicBezTo>
                  <a:pt x="196291" y="1765707"/>
                  <a:pt x="198729" y="1804721"/>
                  <a:pt x="204825" y="1814475"/>
                </a:cubicBezTo>
                <a:cubicBezTo>
                  <a:pt x="210921" y="1824229"/>
                  <a:pt x="219456" y="1835202"/>
                  <a:pt x="226771" y="1829106"/>
                </a:cubicBezTo>
                <a:cubicBezTo>
                  <a:pt x="234086" y="1823010"/>
                  <a:pt x="240183" y="1777899"/>
                  <a:pt x="248717" y="1777899"/>
                </a:cubicBezTo>
                <a:cubicBezTo>
                  <a:pt x="257251" y="1777899"/>
                  <a:pt x="269443" y="1829106"/>
                  <a:pt x="277977" y="1829106"/>
                </a:cubicBezTo>
                <a:cubicBezTo>
                  <a:pt x="286511" y="1829106"/>
                  <a:pt x="291389" y="1779118"/>
                  <a:pt x="299923" y="1777899"/>
                </a:cubicBezTo>
                <a:cubicBezTo>
                  <a:pt x="308457" y="1776680"/>
                  <a:pt x="319430" y="1819353"/>
                  <a:pt x="329184" y="1821791"/>
                </a:cubicBezTo>
                <a:cubicBezTo>
                  <a:pt x="338938" y="1824229"/>
                  <a:pt x="349911" y="1792530"/>
                  <a:pt x="358445" y="1792530"/>
                </a:cubicBezTo>
                <a:cubicBezTo>
                  <a:pt x="366979" y="1792530"/>
                  <a:pt x="370637" y="1821791"/>
                  <a:pt x="380390" y="1821791"/>
                </a:cubicBezTo>
                <a:cubicBezTo>
                  <a:pt x="390143" y="1821791"/>
                  <a:pt x="408432" y="1797407"/>
                  <a:pt x="416966" y="1792530"/>
                </a:cubicBezTo>
                <a:cubicBezTo>
                  <a:pt x="425500" y="1787653"/>
                  <a:pt x="427939" y="1790092"/>
                  <a:pt x="431597" y="1792530"/>
                </a:cubicBezTo>
                <a:cubicBezTo>
                  <a:pt x="435255" y="1794968"/>
                  <a:pt x="432816" y="1803503"/>
                  <a:pt x="438912" y="1807160"/>
                </a:cubicBezTo>
                <a:cubicBezTo>
                  <a:pt x="445008" y="1810817"/>
                  <a:pt x="455981" y="1802283"/>
                  <a:pt x="468173" y="1814475"/>
                </a:cubicBezTo>
                <a:cubicBezTo>
                  <a:pt x="480365" y="1826667"/>
                  <a:pt x="502311" y="1880312"/>
                  <a:pt x="512064" y="1880312"/>
                </a:cubicBezTo>
                <a:cubicBezTo>
                  <a:pt x="521817" y="1880312"/>
                  <a:pt x="516941" y="1820571"/>
                  <a:pt x="526694" y="1814475"/>
                </a:cubicBezTo>
                <a:cubicBezTo>
                  <a:pt x="536447" y="1808379"/>
                  <a:pt x="559612" y="1846174"/>
                  <a:pt x="570585" y="1843736"/>
                </a:cubicBezTo>
                <a:cubicBezTo>
                  <a:pt x="581558" y="1841298"/>
                  <a:pt x="583997" y="1798626"/>
                  <a:pt x="592531" y="1799845"/>
                </a:cubicBezTo>
                <a:cubicBezTo>
                  <a:pt x="601065" y="1801064"/>
                  <a:pt x="613258" y="1843736"/>
                  <a:pt x="621792" y="1851051"/>
                </a:cubicBezTo>
                <a:cubicBezTo>
                  <a:pt x="630326" y="1858366"/>
                  <a:pt x="636422" y="1841297"/>
                  <a:pt x="643737" y="1843736"/>
                </a:cubicBezTo>
                <a:cubicBezTo>
                  <a:pt x="651052" y="1846174"/>
                  <a:pt x="657149" y="1874216"/>
                  <a:pt x="665683" y="1865682"/>
                </a:cubicBezTo>
                <a:cubicBezTo>
                  <a:pt x="674218" y="1857148"/>
                  <a:pt x="686410" y="1788873"/>
                  <a:pt x="694944" y="1792530"/>
                </a:cubicBezTo>
                <a:cubicBezTo>
                  <a:pt x="703478" y="1796187"/>
                  <a:pt x="708355" y="1874216"/>
                  <a:pt x="716889" y="1887627"/>
                </a:cubicBezTo>
                <a:cubicBezTo>
                  <a:pt x="725423" y="1901038"/>
                  <a:pt x="738835" y="1883970"/>
                  <a:pt x="746150" y="1872997"/>
                </a:cubicBezTo>
                <a:cubicBezTo>
                  <a:pt x="753465" y="1862024"/>
                  <a:pt x="757123" y="1825449"/>
                  <a:pt x="760781" y="1821791"/>
                </a:cubicBezTo>
                <a:cubicBezTo>
                  <a:pt x="764439" y="1818133"/>
                  <a:pt x="764439" y="1841297"/>
                  <a:pt x="768096" y="1851051"/>
                </a:cubicBezTo>
                <a:cubicBezTo>
                  <a:pt x="771754" y="1860804"/>
                  <a:pt x="777849" y="1883969"/>
                  <a:pt x="782726" y="1880312"/>
                </a:cubicBezTo>
                <a:cubicBezTo>
                  <a:pt x="787603" y="1876655"/>
                  <a:pt x="787603" y="1832763"/>
                  <a:pt x="797357" y="1829106"/>
                </a:cubicBezTo>
                <a:cubicBezTo>
                  <a:pt x="807111" y="1825448"/>
                  <a:pt x="831495" y="1848614"/>
                  <a:pt x="841248" y="1858367"/>
                </a:cubicBezTo>
                <a:cubicBezTo>
                  <a:pt x="851001" y="1868120"/>
                  <a:pt x="848563" y="1879093"/>
                  <a:pt x="855878" y="1887627"/>
                </a:cubicBezTo>
                <a:cubicBezTo>
                  <a:pt x="863193" y="1896161"/>
                  <a:pt x="874166" y="1918107"/>
                  <a:pt x="885139" y="1909573"/>
                </a:cubicBezTo>
                <a:cubicBezTo>
                  <a:pt x="896112" y="1901039"/>
                  <a:pt x="907085" y="1843736"/>
                  <a:pt x="921715" y="1836421"/>
                </a:cubicBezTo>
                <a:cubicBezTo>
                  <a:pt x="936345" y="1829106"/>
                  <a:pt x="963167" y="1870559"/>
                  <a:pt x="972921" y="1865682"/>
                </a:cubicBezTo>
                <a:cubicBezTo>
                  <a:pt x="982675" y="1860805"/>
                  <a:pt x="977799" y="1810818"/>
                  <a:pt x="980237" y="1807160"/>
                </a:cubicBezTo>
                <a:cubicBezTo>
                  <a:pt x="982676" y="1803502"/>
                  <a:pt x="980237" y="1844955"/>
                  <a:pt x="987552" y="1843736"/>
                </a:cubicBezTo>
                <a:cubicBezTo>
                  <a:pt x="994867" y="1842517"/>
                  <a:pt x="1008279" y="1797406"/>
                  <a:pt x="1024128" y="1799845"/>
                </a:cubicBezTo>
                <a:cubicBezTo>
                  <a:pt x="1039978" y="1802283"/>
                  <a:pt x="1072896" y="1852271"/>
                  <a:pt x="1082649" y="1858367"/>
                </a:cubicBezTo>
                <a:cubicBezTo>
                  <a:pt x="1092402" y="1864463"/>
                  <a:pt x="1077772" y="1833983"/>
                  <a:pt x="1082649" y="1836421"/>
                </a:cubicBezTo>
                <a:cubicBezTo>
                  <a:pt x="1087526" y="1838859"/>
                  <a:pt x="1100937" y="1879093"/>
                  <a:pt x="1111910" y="1872997"/>
                </a:cubicBezTo>
                <a:cubicBezTo>
                  <a:pt x="1122883" y="1866901"/>
                  <a:pt x="1139952" y="1801064"/>
                  <a:pt x="1148486" y="1799845"/>
                </a:cubicBezTo>
                <a:cubicBezTo>
                  <a:pt x="1157020" y="1798626"/>
                  <a:pt x="1155802" y="1870559"/>
                  <a:pt x="1163117" y="1865682"/>
                </a:cubicBezTo>
                <a:cubicBezTo>
                  <a:pt x="1170432" y="1860805"/>
                  <a:pt x="1186281" y="1787653"/>
                  <a:pt x="1192377" y="1770584"/>
                </a:cubicBezTo>
                <a:cubicBezTo>
                  <a:pt x="1198473" y="1753515"/>
                  <a:pt x="1193597" y="1754734"/>
                  <a:pt x="1199693" y="1763269"/>
                </a:cubicBezTo>
                <a:cubicBezTo>
                  <a:pt x="1205789" y="1771804"/>
                  <a:pt x="1220419" y="1819353"/>
                  <a:pt x="1228953" y="1821791"/>
                </a:cubicBezTo>
                <a:cubicBezTo>
                  <a:pt x="1237487" y="1824229"/>
                  <a:pt x="1244803" y="1782776"/>
                  <a:pt x="1250899" y="1777899"/>
                </a:cubicBezTo>
                <a:cubicBezTo>
                  <a:pt x="1256995" y="1773022"/>
                  <a:pt x="1259433" y="1788872"/>
                  <a:pt x="1265529" y="1792530"/>
                </a:cubicBezTo>
                <a:cubicBezTo>
                  <a:pt x="1271625" y="1796188"/>
                  <a:pt x="1281379" y="1802283"/>
                  <a:pt x="1287475" y="1799845"/>
                </a:cubicBezTo>
                <a:cubicBezTo>
                  <a:pt x="1293571" y="1797407"/>
                  <a:pt x="1296009" y="1775461"/>
                  <a:pt x="1302105" y="1777899"/>
                </a:cubicBezTo>
                <a:cubicBezTo>
                  <a:pt x="1308201" y="1780337"/>
                  <a:pt x="1313078" y="1813256"/>
                  <a:pt x="1324051" y="1814475"/>
                </a:cubicBezTo>
                <a:cubicBezTo>
                  <a:pt x="1335024" y="1815694"/>
                  <a:pt x="1352092" y="1786434"/>
                  <a:pt x="1367942" y="1785215"/>
                </a:cubicBezTo>
                <a:cubicBezTo>
                  <a:pt x="1383792" y="1783996"/>
                  <a:pt x="1406957" y="1807160"/>
                  <a:pt x="1419149" y="1807160"/>
                </a:cubicBezTo>
                <a:cubicBezTo>
                  <a:pt x="1431341" y="1807160"/>
                  <a:pt x="1436217" y="1777900"/>
                  <a:pt x="1441094" y="1785215"/>
                </a:cubicBezTo>
                <a:cubicBezTo>
                  <a:pt x="1445971" y="1792530"/>
                  <a:pt x="1443532" y="1844955"/>
                  <a:pt x="1448409" y="1851051"/>
                </a:cubicBezTo>
                <a:cubicBezTo>
                  <a:pt x="1453286" y="1857147"/>
                  <a:pt x="1464259" y="1826668"/>
                  <a:pt x="1470355" y="1821791"/>
                </a:cubicBezTo>
                <a:cubicBezTo>
                  <a:pt x="1476451" y="1816914"/>
                  <a:pt x="1472793" y="1829106"/>
                  <a:pt x="1484985" y="1821791"/>
                </a:cubicBezTo>
                <a:cubicBezTo>
                  <a:pt x="1497177" y="1814476"/>
                  <a:pt x="1530096" y="1780337"/>
                  <a:pt x="1543507" y="1777899"/>
                </a:cubicBezTo>
                <a:cubicBezTo>
                  <a:pt x="1556918" y="1775460"/>
                  <a:pt x="1559357" y="1813256"/>
                  <a:pt x="1565453" y="1807160"/>
                </a:cubicBezTo>
                <a:cubicBezTo>
                  <a:pt x="1571549" y="1801064"/>
                  <a:pt x="1575206" y="1753515"/>
                  <a:pt x="1580083" y="1741323"/>
                </a:cubicBezTo>
                <a:cubicBezTo>
                  <a:pt x="1584960" y="1729131"/>
                  <a:pt x="1588617" y="1725473"/>
                  <a:pt x="1594713" y="1734008"/>
                </a:cubicBezTo>
                <a:cubicBezTo>
                  <a:pt x="1600809" y="1742543"/>
                  <a:pt x="1606905" y="1790092"/>
                  <a:pt x="1616659" y="1792530"/>
                </a:cubicBezTo>
                <a:cubicBezTo>
                  <a:pt x="1626413" y="1794968"/>
                  <a:pt x="1643481" y="1747420"/>
                  <a:pt x="1653235" y="1748639"/>
                </a:cubicBezTo>
                <a:cubicBezTo>
                  <a:pt x="1662989" y="1749858"/>
                  <a:pt x="1665427" y="1798626"/>
                  <a:pt x="1675181" y="1799845"/>
                </a:cubicBezTo>
                <a:cubicBezTo>
                  <a:pt x="1684935" y="1801064"/>
                  <a:pt x="1699565" y="1754735"/>
                  <a:pt x="1711757" y="1755954"/>
                </a:cubicBezTo>
                <a:cubicBezTo>
                  <a:pt x="1723949" y="1757173"/>
                  <a:pt x="1738580" y="1807160"/>
                  <a:pt x="1748333" y="1807160"/>
                </a:cubicBezTo>
                <a:cubicBezTo>
                  <a:pt x="1758086" y="1807160"/>
                  <a:pt x="1762963" y="1753515"/>
                  <a:pt x="1770278" y="1755954"/>
                </a:cubicBezTo>
                <a:cubicBezTo>
                  <a:pt x="1777593" y="1758392"/>
                  <a:pt x="1782470" y="1820572"/>
                  <a:pt x="1792224" y="1821791"/>
                </a:cubicBezTo>
                <a:cubicBezTo>
                  <a:pt x="1801978" y="1823010"/>
                  <a:pt x="1819047" y="1760831"/>
                  <a:pt x="1828800" y="1763269"/>
                </a:cubicBezTo>
                <a:cubicBezTo>
                  <a:pt x="1838553" y="1765707"/>
                  <a:pt x="1842211" y="1831544"/>
                  <a:pt x="1850745" y="1836421"/>
                </a:cubicBezTo>
                <a:cubicBezTo>
                  <a:pt x="1859279" y="1841298"/>
                  <a:pt x="1873910" y="1794968"/>
                  <a:pt x="1880006" y="1792530"/>
                </a:cubicBezTo>
                <a:cubicBezTo>
                  <a:pt x="1886102" y="1790092"/>
                  <a:pt x="1882444" y="1819353"/>
                  <a:pt x="1887321" y="1821791"/>
                </a:cubicBezTo>
                <a:cubicBezTo>
                  <a:pt x="1892198" y="1824229"/>
                  <a:pt x="1903171" y="1810818"/>
                  <a:pt x="1909267" y="1807160"/>
                </a:cubicBezTo>
                <a:cubicBezTo>
                  <a:pt x="1915363" y="1803502"/>
                  <a:pt x="1919020" y="1793749"/>
                  <a:pt x="1923897" y="1799845"/>
                </a:cubicBezTo>
                <a:cubicBezTo>
                  <a:pt x="1928774" y="1805941"/>
                  <a:pt x="1933651" y="1832763"/>
                  <a:pt x="1938528" y="1843736"/>
                </a:cubicBezTo>
                <a:cubicBezTo>
                  <a:pt x="1943405" y="1854709"/>
                  <a:pt x="1944624" y="1871778"/>
                  <a:pt x="1953158" y="1865682"/>
                </a:cubicBezTo>
                <a:cubicBezTo>
                  <a:pt x="1961692" y="1859586"/>
                  <a:pt x="1978761" y="1809598"/>
                  <a:pt x="1989734" y="1807160"/>
                </a:cubicBezTo>
                <a:cubicBezTo>
                  <a:pt x="2000707" y="1804722"/>
                  <a:pt x="2012899" y="1843736"/>
                  <a:pt x="2018995" y="1851051"/>
                </a:cubicBezTo>
                <a:cubicBezTo>
                  <a:pt x="2025091" y="1858366"/>
                  <a:pt x="2022652" y="1859585"/>
                  <a:pt x="2026310" y="1851051"/>
                </a:cubicBezTo>
                <a:cubicBezTo>
                  <a:pt x="2029968" y="1842517"/>
                  <a:pt x="2034845" y="1801064"/>
                  <a:pt x="2040941" y="1799845"/>
                </a:cubicBezTo>
                <a:cubicBezTo>
                  <a:pt x="2047037" y="1798626"/>
                  <a:pt x="2055571" y="1831544"/>
                  <a:pt x="2062886" y="1843736"/>
                </a:cubicBezTo>
                <a:cubicBezTo>
                  <a:pt x="2070201" y="1855928"/>
                  <a:pt x="2079955" y="1864463"/>
                  <a:pt x="2084832" y="1872997"/>
                </a:cubicBezTo>
                <a:cubicBezTo>
                  <a:pt x="2089709" y="1881531"/>
                  <a:pt x="2086051" y="1898601"/>
                  <a:pt x="2092147" y="1894943"/>
                </a:cubicBezTo>
                <a:cubicBezTo>
                  <a:pt x="2098243" y="1891285"/>
                  <a:pt x="2111654" y="1860805"/>
                  <a:pt x="2121408" y="1851051"/>
                </a:cubicBezTo>
                <a:cubicBezTo>
                  <a:pt x="2131162" y="1841297"/>
                  <a:pt x="2140916" y="1827887"/>
                  <a:pt x="2150669" y="1836421"/>
                </a:cubicBezTo>
                <a:cubicBezTo>
                  <a:pt x="2160422" y="1844955"/>
                  <a:pt x="2172614" y="1890066"/>
                  <a:pt x="2179929" y="1902258"/>
                </a:cubicBezTo>
                <a:cubicBezTo>
                  <a:pt x="2187244" y="1914450"/>
                  <a:pt x="2190902" y="1919326"/>
                  <a:pt x="2194560" y="1909573"/>
                </a:cubicBezTo>
                <a:cubicBezTo>
                  <a:pt x="2198218" y="1899820"/>
                  <a:pt x="2193341" y="1844955"/>
                  <a:pt x="2201875" y="1843736"/>
                </a:cubicBezTo>
                <a:cubicBezTo>
                  <a:pt x="2210409" y="1842517"/>
                  <a:pt x="2234793" y="1902258"/>
                  <a:pt x="2245766" y="1902258"/>
                </a:cubicBezTo>
                <a:cubicBezTo>
                  <a:pt x="2256739" y="1902258"/>
                  <a:pt x="2261616" y="1857147"/>
                  <a:pt x="2267712" y="1843736"/>
                </a:cubicBezTo>
                <a:cubicBezTo>
                  <a:pt x="2273808" y="1830325"/>
                  <a:pt x="2276246" y="1825448"/>
                  <a:pt x="2282342" y="1821791"/>
                </a:cubicBezTo>
                <a:cubicBezTo>
                  <a:pt x="2288438" y="1818134"/>
                  <a:pt x="2294534" y="1816914"/>
                  <a:pt x="2304288" y="1821791"/>
                </a:cubicBezTo>
                <a:cubicBezTo>
                  <a:pt x="2314042" y="1826668"/>
                  <a:pt x="2328672" y="1852270"/>
                  <a:pt x="2340864" y="1851051"/>
                </a:cubicBezTo>
                <a:cubicBezTo>
                  <a:pt x="2353056" y="1849832"/>
                  <a:pt x="2366467" y="1812037"/>
                  <a:pt x="2377440" y="1814475"/>
                </a:cubicBezTo>
                <a:cubicBezTo>
                  <a:pt x="2388413" y="1816913"/>
                  <a:pt x="2396948" y="1865682"/>
                  <a:pt x="2406701" y="1865682"/>
                </a:cubicBezTo>
                <a:cubicBezTo>
                  <a:pt x="2416454" y="1865682"/>
                  <a:pt x="2424988" y="1810818"/>
                  <a:pt x="2435961" y="1814475"/>
                </a:cubicBezTo>
                <a:cubicBezTo>
                  <a:pt x="2446934" y="1818132"/>
                  <a:pt x="2461564" y="1883969"/>
                  <a:pt x="2472537" y="1887627"/>
                </a:cubicBezTo>
                <a:cubicBezTo>
                  <a:pt x="2483510" y="1891285"/>
                  <a:pt x="2494483" y="1863243"/>
                  <a:pt x="2501798" y="1836421"/>
                </a:cubicBezTo>
                <a:cubicBezTo>
                  <a:pt x="2509113" y="1809599"/>
                  <a:pt x="2511552" y="1748639"/>
                  <a:pt x="2516429" y="1726693"/>
                </a:cubicBezTo>
                <a:cubicBezTo>
                  <a:pt x="2521306" y="1704747"/>
                  <a:pt x="2528621" y="1730350"/>
                  <a:pt x="2531059" y="1704747"/>
                </a:cubicBezTo>
                <a:cubicBezTo>
                  <a:pt x="2533497" y="1679144"/>
                  <a:pt x="2528621" y="1601115"/>
                  <a:pt x="2531059" y="1573074"/>
                </a:cubicBezTo>
                <a:cubicBezTo>
                  <a:pt x="2533497" y="1545033"/>
                  <a:pt x="2542031" y="1524306"/>
                  <a:pt x="2545689" y="1536498"/>
                </a:cubicBezTo>
                <a:cubicBezTo>
                  <a:pt x="2549347" y="1548690"/>
                  <a:pt x="2548128" y="1624281"/>
                  <a:pt x="2553005" y="1646226"/>
                </a:cubicBezTo>
                <a:cubicBezTo>
                  <a:pt x="2557882" y="1668171"/>
                  <a:pt x="2567635" y="1677925"/>
                  <a:pt x="2574950" y="1668171"/>
                </a:cubicBezTo>
                <a:cubicBezTo>
                  <a:pt x="2582265" y="1658417"/>
                  <a:pt x="2589581" y="1607211"/>
                  <a:pt x="2596896" y="1587704"/>
                </a:cubicBezTo>
                <a:cubicBezTo>
                  <a:pt x="2604211" y="1568197"/>
                  <a:pt x="2613964" y="1549909"/>
                  <a:pt x="2618841" y="1551128"/>
                </a:cubicBezTo>
                <a:cubicBezTo>
                  <a:pt x="2623718" y="1552347"/>
                  <a:pt x="2622499" y="1619403"/>
                  <a:pt x="2626157" y="1595019"/>
                </a:cubicBezTo>
                <a:cubicBezTo>
                  <a:pt x="2629815" y="1570635"/>
                  <a:pt x="2635910" y="1412139"/>
                  <a:pt x="2640787" y="1404824"/>
                </a:cubicBezTo>
                <a:cubicBezTo>
                  <a:pt x="2645664" y="1397509"/>
                  <a:pt x="2649321" y="1595019"/>
                  <a:pt x="2655417" y="1551128"/>
                </a:cubicBezTo>
                <a:cubicBezTo>
                  <a:pt x="2661513" y="1507237"/>
                  <a:pt x="2674925" y="1274370"/>
                  <a:pt x="2677363" y="1141477"/>
                </a:cubicBezTo>
                <a:cubicBezTo>
                  <a:pt x="2679801" y="1008584"/>
                  <a:pt x="2667610" y="858622"/>
                  <a:pt x="2670048" y="753771"/>
                </a:cubicBezTo>
                <a:cubicBezTo>
                  <a:pt x="2672486" y="648920"/>
                  <a:pt x="2688336" y="587960"/>
                  <a:pt x="2691993" y="512370"/>
                </a:cubicBezTo>
                <a:cubicBezTo>
                  <a:pt x="2695651" y="436780"/>
                  <a:pt x="2691993" y="300229"/>
                  <a:pt x="2691993" y="300229"/>
                </a:cubicBezTo>
                <a:cubicBezTo>
                  <a:pt x="2691993" y="242927"/>
                  <a:pt x="2688335" y="218542"/>
                  <a:pt x="2691993" y="168555"/>
                </a:cubicBezTo>
                <a:cubicBezTo>
                  <a:pt x="2695651" y="118568"/>
                  <a:pt x="2707843" y="-7009"/>
                  <a:pt x="2713939" y="306"/>
                </a:cubicBezTo>
                <a:cubicBezTo>
                  <a:pt x="2720035" y="7621"/>
                  <a:pt x="2726131" y="100281"/>
                  <a:pt x="2728569" y="212447"/>
                </a:cubicBezTo>
                <a:cubicBezTo>
                  <a:pt x="2731007" y="324613"/>
                  <a:pt x="2726131" y="559919"/>
                  <a:pt x="2728569" y="673304"/>
                </a:cubicBezTo>
                <a:cubicBezTo>
                  <a:pt x="2731007" y="786689"/>
                  <a:pt x="2739542" y="830581"/>
                  <a:pt x="2743200" y="892760"/>
                </a:cubicBezTo>
                <a:cubicBezTo>
                  <a:pt x="2746858" y="954939"/>
                  <a:pt x="2749296" y="976885"/>
                  <a:pt x="2750515" y="1046379"/>
                </a:cubicBezTo>
                <a:cubicBezTo>
                  <a:pt x="2751734" y="1115873"/>
                  <a:pt x="2748077" y="1297535"/>
                  <a:pt x="2750515" y="1309727"/>
                </a:cubicBezTo>
                <a:cubicBezTo>
                  <a:pt x="2752953" y="1321919"/>
                  <a:pt x="2760268" y="1129285"/>
                  <a:pt x="2765145" y="1119531"/>
                </a:cubicBezTo>
                <a:cubicBezTo>
                  <a:pt x="2770022" y="1109777"/>
                  <a:pt x="2772461" y="1209752"/>
                  <a:pt x="2779776" y="1251205"/>
                </a:cubicBezTo>
                <a:cubicBezTo>
                  <a:pt x="2787091" y="1292658"/>
                  <a:pt x="2800503" y="1375563"/>
                  <a:pt x="2809037" y="1368248"/>
                </a:cubicBezTo>
                <a:cubicBezTo>
                  <a:pt x="2817571" y="1360933"/>
                  <a:pt x="2822448" y="1219506"/>
                  <a:pt x="2830982" y="1207314"/>
                </a:cubicBezTo>
                <a:cubicBezTo>
                  <a:pt x="2839516" y="1195122"/>
                  <a:pt x="2850489" y="1269493"/>
                  <a:pt x="2860243" y="1295096"/>
                </a:cubicBezTo>
                <a:cubicBezTo>
                  <a:pt x="2869997" y="1320699"/>
                  <a:pt x="2883408" y="1336549"/>
                  <a:pt x="2889504" y="1360933"/>
                </a:cubicBezTo>
                <a:cubicBezTo>
                  <a:pt x="2895600" y="1385317"/>
                  <a:pt x="2893162" y="1441400"/>
                  <a:pt x="2896819" y="1441400"/>
                </a:cubicBezTo>
                <a:cubicBezTo>
                  <a:pt x="2900476" y="1441400"/>
                  <a:pt x="2904134" y="1392632"/>
                  <a:pt x="2911449" y="1360933"/>
                </a:cubicBezTo>
                <a:cubicBezTo>
                  <a:pt x="2918764" y="1329234"/>
                  <a:pt x="2933395" y="1249986"/>
                  <a:pt x="2940710" y="1251205"/>
                </a:cubicBezTo>
                <a:cubicBezTo>
                  <a:pt x="2948025" y="1252424"/>
                  <a:pt x="2951683" y="1307288"/>
                  <a:pt x="2955341" y="1368248"/>
                </a:cubicBezTo>
                <a:cubicBezTo>
                  <a:pt x="2958999" y="1429208"/>
                  <a:pt x="2958998" y="1563320"/>
                  <a:pt x="2962656" y="1616965"/>
                </a:cubicBezTo>
                <a:cubicBezTo>
                  <a:pt x="2966314" y="1670610"/>
                  <a:pt x="2972409" y="1684021"/>
                  <a:pt x="2977286" y="1690117"/>
                </a:cubicBezTo>
                <a:cubicBezTo>
                  <a:pt x="2982163" y="1696213"/>
                  <a:pt x="2987040" y="1646226"/>
                  <a:pt x="2991917" y="1653541"/>
                </a:cubicBezTo>
                <a:cubicBezTo>
                  <a:pt x="2996794" y="1660856"/>
                  <a:pt x="3002890" y="1705966"/>
                  <a:pt x="3006547" y="1734008"/>
                </a:cubicBezTo>
                <a:cubicBezTo>
                  <a:pt x="3010204" y="1762050"/>
                  <a:pt x="3010204" y="1793749"/>
                  <a:pt x="3013862" y="1821791"/>
                </a:cubicBezTo>
                <a:cubicBezTo>
                  <a:pt x="3017520" y="1849833"/>
                  <a:pt x="3021178" y="1893724"/>
                  <a:pt x="3028493" y="1902258"/>
                </a:cubicBezTo>
                <a:cubicBezTo>
                  <a:pt x="3035808" y="1910792"/>
                  <a:pt x="3048000" y="1870559"/>
                  <a:pt x="3057753" y="1872997"/>
                </a:cubicBezTo>
                <a:cubicBezTo>
                  <a:pt x="3067506" y="1875435"/>
                  <a:pt x="3077260" y="1921765"/>
                  <a:pt x="3087014" y="1916888"/>
                </a:cubicBezTo>
                <a:cubicBezTo>
                  <a:pt x="3096768" y="1912011"/>
                  <a:pt x="3106521" y="1842517"/>
                  <a:pt x="3116275" y="1843736"/>
                </a:cubicBezTo>
                <a:cubicBezTo>
                  <a:pt x="3126029" y="1844955"/>
                  <a:pt x="3137002" y="1916888"/>
                  <a:pt x="3145536" y="1924203"/>
                </a:cubicBezTo>
                <a:cubicBezTo>
                  <a:pt x="3154070" y="1931518"/>
                  <a:pt x="3158947" y="1882750"/>
                  <a:pt x="3167481" y="1887627"/>
                </a:cubicBezTo>
                <a:cubicBezTo>
                  <a:pt x="3176015" y="1892504"/>
                  <a:pt x="3186988" y="1960779"/>
                  <a:pt x="3196742" y="1953464"/>
                </a:cubicBezTo>
                <a:cubicBezTo>
                  <a:pt x="3206496" y="1946149"/>
                  <a:pt x="3216249" y="1854709"/>
                  <a:pt x="3226003" y="1843736"/>
                </a:cubicBezTo>
                <a:cubicBezTo>
                  <a:pt x="3235757" y="1832763"/>
                  <a:pt x="3246730" y="1887627"/>
                  <a:pt x="3255264" y="1887627"/>
                </a:cubicBezTo>
                <a:cubicBezTo>
                  <a:pt x="3263798" y="1887627"/>
                  <a:pt x="3269894" y="1842517"/>
                  <a:pt x="3277209" y="1843736"/>
                </a:cubicBezTo>
                <a:cubicBezTo>
                  <a:pt x="3284524" y="1844955"/>
                  <a:pt x="3290621" y="1893724"/>
                  <a:pt x="3299155" y="1894943"/>
                </a:cubicBezTo>
                <a:cubicBezTo>
                  <a:pt x="3307689" y="1896162"/>
                  <a:pt x="3317443" y="1849832"/>
                  <a:pt x="3328416" y="1851051"/>
                </a:cubicBezTo>
                <a:cubicBezTo>
                  <a:pt x="3339389" y="1852270"/>
                  <a:pt x="3355239" y="1899820"/>
                  <a:pt x="3364992" y="1902258"/>
                </a:cubicBezTo>
                <a:cubicBezTo>
                  <a:pt x="3374745" y="1904696"/>
                  <a:pt x="3380841" y="1885189"/>
                  <a:pt x="3386937" y="1865682"/>
                </a:cubicBezTo>
              </a:path>
            </a:pathLst>
          </a:cu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2813" fontAlgn="base">
              <a:spcBef>
                <a:spcPct val="0"/>
              </a:spcBef>
              <a:spcAft>
                <a:spcPct val="0"/>
              </a:spcAft>
            </a:pPr>
            <a:endParaRPr lang="en-US">
              <a:solidFill>
                <a:srgbClr val="292929"/>
              </a:solidFill>
            </a:endParaRPr>
          </a:p>
        </p:txBody>
      </p:sp>
      <p:sp>
        <p:nvSpPr>
          <p:cNvPr id="13" name="Freeform 12"/>
          <p:cNvSpPr/>
          <p:nvPr/>
        </p:nvSpPr>
        <p:spPr>
          <a:xfrm>
            <a:off x="1652110" y="4104434"/>
            <a:ext cx="4046383" cy="929336"/>
          </a:xfrm>
          <a:custGeom>
            <a:avLst/>
            <a:gdLst>
              <a:gd name="connsiteX0" fmla="*/ 0 w 3386938"/>
              <a:gd name="connsiteY0" fmla="*/ 775435 h 929336"/>
              <a:gd name="connsiteX1" fmla="*/ 29261 w 3386938"/>
              <a:gd name="connsiteY1" fmla="*/ 819326 h 929336"/>
              <a:gd name="connsiteX2" fmla="*/ 51206 w 3386938"/>
              <a:gd name="connsiteY2" fmla="*/ 855902 h 929336"/>
              <a:gd name="connsiteX3" fmla="*/ 73152 w 3386938"/>
              <a:gd name="connsiteY3" fmla="*/ 760805 h 929336"/>
              <a:gd name="connsiteX4" fmla="*/ 80467 w 3386938"/>
              <a:gd name="connsiteY4" fmla="*/ 702283 h 929336"/>
              <a:gd name="connsiteX5" fmla="*/ 95098 w 3386938"/>
              <a:gd name="connsiteY5" fmla="*/ 790065 h 929336"/>
              <a:gd name="connsiteX6" fmla="*/ 117043 w 3386938"/>
              <a:gd name="connsiteY6" fmla="*/ 797381 h 929336"/>
              <a:gd name="connsiteX7" fmla="*/ 131674 w 3386938"/>
              <a:gd name="connsiteY7" fmla="*/ 731544 h 929336"/>
              <a:gd name="connsiteX8" fmla="*/ 146304 w 3386938"/>
              <a:gd name="connsiteY8" fmla="*/ 797381 h 929336"/>
              <a:gd name="connsiteX9" fmla="*/ 160934 w 3386938"/>
              <a:gd name="connsiteY9" fmla="*/ 819326 h 929336"/>
              <a:gd name="connsiteX10" fmla="*/ 190195 w 3386938"/>
              <a:gd name="connsiteY10" fmla="*/ 738859 h 929336"/>
              <a:gd name="connsiteX11" fmla="*/ 197510 w 3386938"/>
              <a:gd name="connsiteY11" fmla="*/ 804696 h 929336"/>
              <a:gd name="connsiteX12" fmla="*/ 219456 w 3386938"/>
              <a:gd name="connsiteY12" fmla="*/ 833957 h 929336"/>
              <a:gd name="connsiteX13" fmla="*/ 241402 w 3386938"/>
              <a:gd name="connsiteY13" fmla="*/ 746174 h 929336"/>
              <a:gd name="connsiteX14" fmla="*/ 263347 w 3386938"/>
              <a:gd name="connsiteY14" fmla="*/ 768120 h 929336"/>
              <a:gd name="connsiteX15" fmla="*/ 270662 w 3386938"/>
              <a:gd name="connsiteY15" fmla="*/ 797381 h 929336"/>
              <a:gd name="connsiteX16" fmla="*/ 307238 w 3386938"/>
              <a:gd name="connsiteY16" fmla="*/ 746174 h 929336"/>
              <a:gd name="connsiteX17" fmla="*/ 314554 w 3386938"/>
              <a:gd name="connsiteY17" fmla="*/ 790065 h 929336"/>
              <a:gd name="connsiteX18" fmla="*/ 336499 w 3386938"/>
              <a:gd name="connsiteY18" fmla="*/ 804696 h 929336"/>
              <a:gd name="connsiteX19" fmla="*/ 351130 w 3386938"/>
              <a:gd name="connsiteY19" fmla="*/ 760805 h 929336"/>
              <a:gd name="connsiteX20" fmla="*/ 365760 w 3386938"/>
              <a:gd name="connsiteY20" fmla="*/ 826641 h 929336"/>
              <a:gd name="connsiteX21" fmla="*/ 387706 w 3386938"/>
              <a:gd name="connsiteY21" fmla="*/ 797381 h 929336"/>
              <a:gd name="connsiteX22" fmla="*/ 409651 w 3386938"/>
              <a:gd name="connsiteY22" fmla="*/ 753489 h 929336"/>
              <a:gd name="connsiteX23" fmla="*/ 409651 w 3386938"/>
              <a:gd name="connsiteY23" fmla="*/ 731544 h 929336"/>
              <a:gd name="connsiteX24" fmla="*/ 446227 w 3386938"/>
              <a:gd name="connsiteY24" fmla="*/ 775435 h 929336"/>
              <a:gd name="connsiteX25" fmla="*/ 468173 w 3386938"/>
              <a:gd name="connsiteY25" fmla="*/ 724229 h 929336"/>
              <a:gd name="connsiteX26" fmla="*/ 475488 w 3386938"/>
              <a:gd name="connsiteY26" fmla="*/ 790065 h 929336"/>
              <a:gd name="connsiteX27" fmla="*/ 490118 w 3386938"/>
              <a:gd name="connsiteY27" fmla="*/ 826641 h 929336"/>
              <a:gd name="connsiteX28" fmla="*/ 526694 w 3386938"/>
              <a:gd name="connsiteY28" fmla="*/ 760805 h 929336"/>
              <a:gd name="connsiteX29" fmla="*/ 548640 w 3386938"/>
              <a:gd name="connsiteY29" fmla="*/ 775435 h 929336"/>
              <a:gd name="connsiteX30" fmla="*/ 577901 w 3386938"/>
              <a:gd name="connsiteY30" fmla="*/ 738859 h 929336"/>
              <a:gd name="connsiteX31" fmla="*/ 570586 w 3386938"/>
              <a:gd name="connsiteY31" fmla="*/ 702283 h 929336"/>
              <a:gd name="connsiteX32" fmla="*/ 607162 w 3386938"/>
              <a:gd name="connsiteY32" fmla="*/ 753489 h 929336"/>
              <a:gd name="connsiteX33" fmla="*/ 643738 w 3386938"/>
              <a:gd name="connsiteY33" fmla="*/ 731544 h 929336"/>
              <a:gd name="connsiteX34" fmla="*/ 629107 w 3386938"/>
              <a:gd name="connsiteY34" fmla="*/ 782750 h 929336"/>
              <a:gd name="connsiteX35" fmla="*/ 672998 w 3386938"/>
              <a:gd name="connsiteY35" fmla="*/ 804696 h 929336"/>
              <a:gd name="connsiteX36" fmla="*/ 687629 w 3386938"/>
              <a:gd name="connsiteY36" fmla="*/ 716913 h 929336"/>
              <a:gd name="connsiteX37" fmla="*/ 731520 w 3386938"/>
              <a:gd name="connsiteY37" fmla="*/ 812011 h 929336"/>
              <a:gd name="connsiteX38" fmla="*/ 746150 w 3386938"/>
              <a:gd name="connsiteY38" fmla="*/ 753489 h 929336"/>
              <a:gd name="connsiteX39" fmla="*/ 782726 w 3386938"/>
              <a:gd name="connsiteY39" fmla="*/ 870533 h 929336"/>
              <a:gd name="connsiteX40" fmla="*/ 797357 w 3386938"/>
              <a:gd name="connsiteY40" fmla="*/ 797381 h 929336"/>
              <a:gd name="connsiteX41" fmla="*/ 841248 w 3386938"/>
              <a:gd name="connsiteY41" fmla="*/ 841272 h 929336"/>
              <a:gd name="connsiteX42" fmla="*/ 855878 w 3386938"/>
              <a:gd name="connsiteY42" fmla="*/ 790065 h 929336"/>
              <a:gd name="connsiteX43" fmla="*/ 892454 w 3386938"/>
              <a:gd name="connsiteY43" fmla="*/ 848587 h 929336"/>
              <a:gd name="connsiteX44" fmla="*/ 914400 w 3386938"/>
              <a:gd name="connsiteY44" fmla="*/ 804696 h 929336"/>
              <a:gd name="connsiteX45" fmla="*/ 936346 w 3386938"/>
              <a:gd name="connsiteY45" fmla="*/ 833957 h 929336"/>
              <a:gd name="connsiteX46" fmla="*/ 958291 w 3386938"/>
              <a:gd name="connsiteY46" fmla="*/ 833957 h 929336"/>
              <a:gd name="connsiteX47" fmla="*/ 972922 w 3386938"/>
              <a:gd name="connsiteY47" fmla="*/ 797381 h 929336"/>
              <a:gd name="connsiteX48" fmla="*/ 1002182 w 3386938"/>
              <a:gd name="connsiteY48" fmla="*/ 848587 h 929336"/>
              <a:gd name="connsiteX49" fmla="*/ 1024128 w 3386938"/>
              <a:gd name="connsiteY49" fmla="*/ 768120 h 929336"/>
              <a:gd name="connsiteX50" fmla="*/ 1068019 w 3386938"/>
              <a:gd name="connsiteY50" fmla="*/ 892478 h 929336"/>
              <a:gd name="connsiteX51" fmla="*/ 1082650 w 3386938"/>
              <a:gd name="connsiteY51" fmla="*/ 826641 h 929336"/>
              <a:gd name="connsiteX52" fmla="*/ 1097280 w 3386938"/>
              <a:gd name="connsiteY52" fmla="*/ 841272 h 929336"/>
              <a:gd name="connsiteX53" fmla="*/ 1133856 w 3386938"/>
              <a:gd name="connsiteY53" fmla="*/ 768120 h 929336"/>
              <a:gd name="connsiteX54" fmla="*/ 1177747 w 3386938"/>
              <a:gd name="connsiteY54" fmla="*/ 848587 h 929336"/>
              <a:gd name="connsiteX55" fmla="*/ 1185062 w 3386938"/>
              <a:gd name="connsiteY55" fmla="*/ 753489 h 929336"/>
              <a:gd name="connsiteX56" fmla="*/ 1199693 w 3386938"/>
              <a:gd name="connsiteY56" fmla="*/ 731544 h 929336"/>
              <a:gd name="connsiteX57" fmla="*/ 1214323 w 3386938"/>
              <a:gd name="connsiteY57" fmla="*/ 819326 h 929336"/>
              <a:gd name="connsiteX58" fmla="*/ 1243584 w 3386938"/>
              <a:gd name="connsiteY58" fmla="*/ 782750 h 929336"/>
              <a:gd name="connsiteX59" fmla="*/ 1265530 w 3386938"/>
              <a:gd name="connsiteY59" fmla="*/ 826641 h 929336"/>
              <a:gd name="connsiteX60" fmla="*/ 1294790 w 3386938"/>
              <a:gd name="connsiteY60" fmla="*/ 782750 h 929336"/>
              <a:gd name="connsiteX61" fmla="*/ 1324051 w 3386938"/>
              <a:gd name="connsiteY61" fmla="*/ 804696 h 929336"/>
              <a:gd name="connsiteX62" fmla="*/ 1375258 w 3386938"/>
              <a:gd name="connsiteY62" fmla="*/ 775435 h 929336"/>
              <a:gd name="connsiteX63" fmla="*/ 1404518 w 3386938"/>
              <a:gd name="connsiteY63" fmla="*/ 855902 h 929336"/>
              <a:gd name="connsiteX64" fmla="*/ 1419149 w 3386938"/>
              <a:gd name="connsiteY64" fmla="*/ 790065 h 929336"/>
              <a:gd name="connsiteX65" fmla="*/ 1441094 w 3386938"/>
              <a:gd name="connsiteY65" fmla="*/ 826641 h 929336"/>
              <a:gd name="connsiteX66" fmla="*/ 1470355 w 3386938"/>
              <a:gd name="connsiteY66" fmla="*/ 819326 h 929336"/>
              <a:gd name="connsiteX67" fmla="*/ 1514246 w 3386938"/>
              <a:gd name="connsiteY67" fmla="*/ 812011 h 929336"/>
              <a:gd name="connsiteX68" fmla="*/ 1528877 w 3386938"/>
              <a:gd name="connsiteY68" fmla="*/ 768120 h 929336"/>
              <a:gd name="connsiteX69" fmla="*/ 1572768 w 3386938"/>
              <a:gd name="connsiteY69" fmla="*/ 819326 h 929336"/>
              <a:gd name="connsiteX70" fmla="*/ 1602029 w 3386938"/>
              <a:gd name="connsiteY70" fmla="*/ 716913 h 929336"/>
              <a:gd name="connsiteX71" fmla="*/ 1623974 w 3386938"/>
              <a:gd name="connsiteY71" fmla="*/ 775435 h 929336"/>
              <a:gd name="connsiteX72" fmla="*/ 1653235 w 3386938"/>
              <a:gd name="connsiteY72" fmla="*/ 738859 h 929336"/>
              <a:gd name="connsiteX73" fmla="*/ 1667866 w 3386938"/>
              <a:gd name="connsiteY73" fmla="*/ 746174 h 929336"/>
              <a:gd name="connsiteX74" fmla="*/ 1697126 w 3386938"/>
              <a:gd name="connsiteY74" fmla="*/ 716913 h 929336"/>
              <a:gd name="connsiteX75" fmla="*/ 1733702 w 3386938"/>
              <a:gd name="connsiteY75" fmla="*/ 782750 h 929336"/>
              <a:gd name="connsiteX76" fmla="*/ 1748333 w 3386938"/>
              <a:gd name="connsiteY76" fmla="*/ 760805 h 929336"/>
              <a:gd name="connsiteX77" fmla="*/ 1777594 w 3386938"/>
              <a:gd name="connsiteY77" fmla="*/ 841272 h 929336"/>
              <a:gd name="connsiteX78" fmla="*/ 1814170 w 3386938"/>
              <a:gd name="connsiteY78" fmla="*/ 775435 h 929336"/>
              <a:gd name="connsiteX79" fmla="*/ 1850746 w 3386938"/>
              <a:gd name="connsiteY79" fmla="*/ 863217 h 929336"/>
              <a:gd name="connsiteX80" fmla="*/ 1865376 w 3386938"/>
              <a:gd name="connsiteY80" fmla="*/ 892478 h 929336"/>
              <a:gd name="connsiteX81" fmla="*/ 1923898 w 3386938"/>
              <a:gd name="connsiteY81" fmla="*/ 833957 h 929336"/>
              <a:gd name="connsiteX82" fmla="*/ 1945843 w 3386938"/>
              <a:gd name="connsiteY82" fmla="*/ 899793 h 929336"/>
              <a:gd name="connsiteX83" fmla="*/ 1982419 w 3386938"/>
              <a:gd name="connsiteY83" fmla="*/ 848587 h 929336"/>
              <a:gd name="connsiteX84" fmla="*/ 1997050 w 3386938"/>
              <a:gd name="connsiteY84" fmla="*/ 885163 h 929336"/>
              <a:gd name="connsiteX85" fmla="*/ 2048256 w 3386938"/>
              <a:gd name="connsiteY85" fmla="*/ 804696 h 929336"/>
              <a:gd name="connsiteX86" fmla="*/ 2070202 w 3386938"/>
              <a:gd name="connsiteY86" fmla="*/ 892478 h 929336"/>
              <a:gd name="connsiteX87" fmla="*/ 2084832 w 3386938"/>
              <a:gd name="connsiteY87" fmla="*/ 870533 h 929336"/>
              <a:gd name="connsiteX88" fmla="*/ 2092147 w 3386938"/>
              <a:gd name="connsiteY88" fmla="*/ 907109 h 929336"/>
              <a:gd name="connsiteX89" fmla="*/ 2143354 w 3386938"/>
              <a:gd name="connsiteY89" fmla="*/ 885163 h 929336"/>
              <a:gd name="connsiteX90" fmla="*/ 2187245 w 3386938"/>
              <a:gd name="connsiteY90" fmla="*/ 914424 h 929336"/>
              <a:gd name="connsiteX91" fmla="*/ 2223821 w 3386938"/>
              <a:gd name="connsiteY91" fmla="*/ 855902 h 929336"/>
              <a:gd name="connsiteX92" fmla="*/ 2238451 w 3386938"/>
              <a:gd name="connsiteY92" fmla="*/ 892478 h 929336"/>
              <a:gd name="connsiteX93" fmla="*/ 2260397 w 3386938"/>
              <a:gd name="connsiteY93" fmla="*/ 826641 h 929336"/>
              <a:gd name="connsiteX94" fmla="*/ 2282342 w 3386938"/>
              <a:gd name="connsiteY94" fmla="*/ 812011 h 929336"/>
              <a:gd name="connsiteX95" fmla="*/ 2311603 w 3386938"/>
              <a:gd name="connsiteY95" fmla="*/ 782750 h 929336"/>
              <a:gd name="connsiteX96" fmla="*/ 2326234 w 3386938"/>
              <a:gd name="connsiteY96" fmla="*/ 848587 h 929336"/>
              <a:gd name="connsiteX97" fmla="*/ 2355494 w 3386938"/>
              <a:gd name="connsiteY97" fmla="*/ 768120 h 929336"/>
              <a:gd name="connsiteX98" fmla="*/ 2392070 w 3386938"/>
              <a:gd name="connsiteY98" fmla="*/ 863217 h 929336"/>
              <a:gd name="connsiteX99" fmla="*/ 2435962 w 3386938"/>
              <a:gd name="connsiteY99" fmla="*/ 797381 h 929336"/>
              <a:gd name="connsiteX100" fmla="*/ 2421331 w 3386938"/>
              <a:gd name="connsiteY100" fmla="*/ 863217 h 929336"/>
              <a:gd name="connsiteX101" fmla="*/ 2443277 w 3386938"/>
              <a:gd name="connsiteY101" fmla="*/ 804696 h 929336"/>
              <a:gd name="connsiteX102" fmla="*/ 2465222 w 3386938"/>
              <a:gd name="connsiteY102" fmla="*/ 855902 h 929336"/>
              <a:gd name="connsiteX103" fmla="*/ 2494483 w 3386938"/>
              <a:gd name="connsiteY103" fmla="*/ 804696 h 929336"/>
              <a:gd name="connsiteX104" fmla="*/ 2516429 w 3386938"/>
              <a:gd name="connsiteY104" fmla="*/ 841272 h 929336"/>
              <a:gd name="connsiteX105" fmla="*/ 2516429 w 3386938"/>
              <a:gd name="connsiteY105" fmla="*/ 738859 h 929336"/>
              <a:gd name="connsiteX106" fmla="*/ 2553005 w 3386938"/>
              <a:gd name="connsiteY106" fmla="*/ 768120 h 929336"/>
              <a:gd name="connsiteX107" fmla="*/ 2560320 w 3386938"/>
              <a:gd name="connsiteY107" fmla="*/ 709598 h 929336"/>
              <a:gd name="connsiteX108" fmla="*/ 2589581 w 3386938"/>
              <a:gd name="connsiteY108" fmla="*/ 753489 h 929336"/>
              <a:gd name="connsiteX109" fmla="*/ 2582266 w 3386938"/>
              <a:gd name="connsiteY109" fmla="*/ 665707 h 929336"/>
              <a:gd name="connsiteX110" fmla="*/ 2611526 w 3386938"/>
              <a:gd name="connsiteY110" fmla="*/ 724229 h 929336"/>
              <a:gd name="connsiteX111" fmla="*/ 2604211 w 3386938"/>
              <a:gd name="connsiteY111" fmla="*/ 651077 h 929336"/>
              <a:gd name="connsiteX112" fmla="*/ 2640787 w 3386938"/>
              <a:gd name="connsiteY112" fmla="*/ 738859 h 929336"/>
              <a:gd name="connsiteX113" fmla="*/ 2655418 w 3386938"/>
              <a:gd name="connsiteY113" fmla="*/ 621816 h 929336"/>
              <a:gd name="connsiteX114" fmla="*/ 2662733 w 3386938"/>
              <a:gd name="connsiteY114" fmla="*/ 585240 h 929336"/>
              <a:gd name="connsiteX115" fmla="*/ 2670048 w 3386938"/>
              <a:gd name="connsiteY115" fmla="*/ 409675 h 929336"/>
              <a:gd name="connsiteX116" fmla="*/ 2677363 w 3386938"/>
              <a:gd name="connsiteY116" fmla="*/ 278001 h 929336"/>
              <a:gd name="connsiteX117" fmla="*/ 2684678 w 3386938"/>
              <a:gd name="connsiteY117" fmla="*/ 95121 h 929336"/>
              <a:gd name="connsiteX118" fmla="*/ 2699309 w 3386938"/>
              <a:gd name="connsiteY118" fmla="*/ 24 h 929336"/>
              <a:gd name="connsiteX119" fmla="*/ 2721254 w 3386938"/>
              <a:gd name="connsiteY119" fmla="*/ 87806 h 929336"/>
              <a:gd name="connsiteX120" fmla="*/ 2721254 w 3386938"/>
              <a:gd name="connsiteY120" fmla="*/ 263371 h 929336"/>
              <a:gd name="connsiteX121" fmla="*/ 2735885 w 3386938"/>
              <a:gd name="connsiteY121" fmla="*/ 409675 h 929336"/>
              <a:gd name="connsiteX122" fmla="*/ 2735885 w 3386938"/>
              <a:gd name="connsiteY122" fmla="*/ 534033 h 929336"/>
              <a:gd name="connsiteX123" fmla="*/ 2743200 w 3386938"/>
              <a:gd name="connsiteY123" fmla="*/ 636446 h 929336"/>
              <a:gd name="connsiteX124" fmla="*/ 2765146 w 3386938"/>
              <a:gd name="connsiteY124" fmla="*/ 548664 h 929336"/>
              <a:gd name="connsiteX125" fmla="*/ 2801722 w 3386938"/>
              <a:gd name="connsiteY125" fmla="*/ 592555 h 929336"/>
              <a:gd name="connsiteX126" fmla="*/ 2823667 w 3386938"/>
              <a:gd name="connsiteY126" fmla="*/ 526718 h 929336"/>
              <a:gd name="connsiteX127" fmla="*/ 2845613 w 3386938"/>
              <a:gd name="connsiteY127" fmla="*/ 607185 h 929336"/>
              <a:gd name="connsiteX128" fmla="*/ 2874874 w 3386938"/>
              <a:gd name="connsiteY128" fmla="*/ 548664 h 929336"/>
              <a:gd name="connsiteX129" fmla="*/ 2896819 w 3386938"/>
              <a:gd name="connsiteY129" fmla="*/ 629131 h 929336"/>
              <a:gd name="connsiteX130" fmla="*/ 2926080 w 3386938"/>
              <a:gd name="connsiteY130" fmla="*/ 526718 h 929336"/>
              <a:gd name="connsiteX131" fmla="*/ 2948026 w 3386938"/>
              <a:gd name="connsiteY131" fmla="*/ 563294 h 929336"/>
              <a:gd name="connsiteX132" fmla="*/ 2955341 w 3386938"/>
              <a:gd name="connsiteY132" fmla="*/ 709598 h 929336"/>
              <a:gd name="connsiteX133" fmla="*/ 2969971 w 3386938"/>
              <a:gd name="connsiteY133" fmla="*/ 768120 h 929336"/>
              <a:gd name="connsiteX134" fmla="*/ 2991917 w 3386938"/>
              <a:gd name="connsiteY134" fmla="*/ 731544 h 929336"/>
              <a:gd name="connsiteX135" fmla="*/ 3006547 w 3386938"/>
              <a:gd name="connsiteY135" fmla="*/ 841272 h 929336"/>
              <a:gd name="connsiteX136" fmla="*/ 3028493 w 3386938"/>
              <a:gd name="connsiteY136" fmla="*/ 892478 h 929336"/>
              <a:gd name="connsiteX137" fmla="*/ 3050438 w 3386938"/>
              <a:gd name="connsiteY137" fmla="*/ 833957 h 929336"/>
              <a:gd name="connsiteX138" fmla="*/ 3094330 w 3386938"/>
              <a:gd name="connsiteY138" fmla="*/ 907109 h 929336"/>
              <a:gd name="connsiteX139" fmla="*/ 3108960 w 3386938"/>
              <a:gd name="connsiteY139" fmla="*/ 841272 h 929336"/>
              <a:gd name="connsiteX140" fmla="*/ 3182112 w 3386938"/>
              <a:gd name="connsiteY140" fmla="*/ 929054 h 929336"/>
              <a:gd name="connsiteX141" fmla="*/ 3174797 w 3386938"/>
              <a:gd name="connsiteY141" fmla="*/ 870533 h 929336"/>
              <a:gd name="connsiteX142" fmla="*/ 3211373 w 3386938"/>
              <a:gd name="connsiteY142" fmla="*/ 907109 h 929336"/>
              <a:gd name="connsiteX143" fmla="*/ 3226003 w 3386938"/>
              <a:gd name="connsiteY143" fmla="*/ 841272 h 929336"/>
              <a:gd name="connsiteX144" fmla="*/ 3247949 w 3386938"/>
              <a:gd name="connsiteY144" fmla="*/ 892478 h 929336"/>
              <a:gd name="connsiteX145" fmla="*/ 3262579 w 3386938"/>
              <a:gd name="connsiteY145" fmla="*/ 841272 h 929336"/>
              <a:gd name="connsiteX146" fmla="*/ 3291840 w 3386938"/>
              <a:gd name="connsiteY146" fmla="*/ 914424 h 929336"/>
              <a:gd name="connsiteX147" fmla="*/ 3343046 w 3386938"/>
              <a:gd name="connsiteY147" fmla="*/ 841272 h 929336"/>
              <a:gd name="connsiteX148" fmla="*/ 3357677 w 3386938"/>
              <a:gd name="connsiteY148" fmla="*/ 870533 h 929336"/>
              <a:gd name="connsiteX149" fmla="*/ 3386938 w 3386938"/>
              <a:gd name="connsiteY149" fmla="*/ 863217 h 929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Lst>
            <a:rect l="l" t="t" r="r" b="b"/>
            <a:pathLst>
              <a:path w="3386938" h="929336">
                <a:moveTo>
                  <a:pt x="0" y="775435"/>
                </a:moveTo>
                <a:cubicBezTo>
                  <a:pt x="10363" y="790675"/>
                  <a:pt x="20727" y="805915"/>
                  <a:pt x="29261" y="819326"/>
                </a:cubicBezTo>
                <a:cubicBezTo>
                  <a:pt x="37795" y="832737"/>
                  <a:pt x="43891" y="865655"/>
                  <a:pt x="51206" y="855902"/>
                </a:cubicBezTo>
                <a:cubicBezTo>
                  <a:pt x="58521" y="846149"/>
                  <a:pt x="68275" y="786408"/>
                  <a:pt x="73152" y="760805"/>
                </a:cubicBezTo>
                <a:cubicBezTo>
                  <a:pt x="78029" y="735202"/>
                  <a:pt x="76809" y="697406"/>
                  <a:pt x="80467" y="702283"/>
                </a:cubicBezTo>
                <a:cubicBezTo>
                  <a:pt x="84125" y="707160"/>
                  <a:pt x="89002" y="774215"/>
                  <a:pt x="95098" y="790065"/>
                </a:cubicBezTo>
                <a:cubicBezTo>
                  <a:pt x="101194" y="805915"/>
                  <a:pt x="110947" y="807134"/>
                  <a:pt x="117043" y="797381"/>
                </a:cubicBezTo>
                <a:cubicBezTo>
                  <a:pt x="123139" y="787628"/>
                  <a:pt x="126797" y="731544"/>
                  <a:pt x="131674" y="731544"/>
                </a:cubicBezTo>
                <a:cubicBezTo>
                  <a:pt x="136551" y="731544"/>
                  <a:pt x="141427" y="782751"/>
                  <a:pt x="146304" y="797381"/>
                </a:cubicBezTo>
                <a:cubicBezTo>
                  <a:pt x="151181" y="812011"/>
                  <a:pt x="153619" y="829080"/>
                  <a:pt x="160934" y="819326"/>
                </a:cubicBezTo>
                <a:cubicBezTo>
                  <a:pt x="168249" y="809572"/>
                  <a:pt x="184099" y="741297"/>
                  <a:pt x="190195" y="738859"/>
                </a:cubicBezTo>
                <a:cubicBezTo>
                  <a:pt x="196291" y="736421"/>
                  <a:pt x="192633" y="788846"/>
                  <a:pt x="197510" y="804696"/>
                </a:cubicBezTo>
                <a:cubicBezTo>
                  <a:pt x="202387" y="820546"/>
                  <a:pt x="212141" y="843711"/>
                  <a:pt x="219456" y="833957"/>
                </a:cubicBezTo>
                <a:cubicBezTo>
                  <a:pt x="226771" y="824203"/>
                  <a:pt x="234087" y="757147"/>
                  <a:pt x="241402" y="746174"/>
                </a:cubicBezTo>
                <a:cubicBezTo>
                  <a:pt x="248717" y="735201"/>
                  <a:pt x="258470" y="759586"/>
                  <a:pt x="263347" y="768120"/>
                </a:cubicBezTo>
                <a:cubicBezTo>
                  <a:pt x="268224" y="776654"/>
                  <a:pt x="263347" y="801039"/>
                  <a:pt x="270662" y="797381"/>
                </a:cubicBezTo>
                <a:cubicBezTo>
                  <a:pt x="277977" y="793723"/>
                  <a:pt x="299923" y="747393"/>
                  <a:pt x="307238" y="746174"/>
                </a:cubicBezTo>
                <a:cubicBezTo>
                  <a:pt x="314553" y="744955"/>
                  <a:pt x="309677" y="780311"/>
                  <a:pt x="314554" y="790065"/>
                </a:cubicBezTo>
                <a:cubicBezTo>
                  <a:pt x="319431" y="799819"/>
                  <a:pt x="330403" y="809573"/>
                  <a:pt x="336499" y="804696"/>
                </a:cubicBezTo>
                <a:cubicBezTo>
                  <a:pt x="342595" y="799819"/>
                  <a:pt x="346253" y="757148"/>
                  <a:pt x="351130" y="760805"/>
                </a:cubicBezTo>
                <a:cubicBezTo>
                  <a:pt x="356007" y="764462"/>
                  <a:pt x="359664" y="820545"/>
                  <a:pt x="365760" y="826641"/>
                </a:cubicBezTo>
                <a:cubicBezTo>
                  <a:pt x="371856" y="832737"/>
                  <a:pt x="380391" y="809573"/>
                  <a:pt x="387706" y="797381"/>
                </a:cubicBezTo>
                <a:cubicBezTo>
                  <a:pt x="395021" y="785189"/>
                  <a:pt x="405994" y="764462"/>
                  <a:pt x="409651" y="753489"/>
                </a:cubicBezTo>
                <a:cubicBezTo>
                  <a:pt x="413308" y="742516"/>
                  <a:pt x="403555" y="727886"/>
                  <a:pt x="409651" y="731544"/>
                </a:cubicBezTo>
                <a:cubicBezTo>
                  <a:pt x="415747" y="735202"/>
                  <a:pt x="436473" y="776654"/>
                  <a:pt x="446227" y="775435"/>
                </a:cubicBezTo>
                <a:cubicBezTo>
                  <a:pt x="455981" y="774216"/>
                  <a:pt x="463296" y="721791"/>
                  <a:pt x="468173" y="724229"/>
                </a:cubicBezTo>
                <a:cubicBezTo>
                  <a:pt x="473050" y="726667"/>
                  <a:pt x="471831" y="772996"/>
                  <a:pt x="475488" y="790065"/>
                </a:cubicBezTo>
                <a:cubicBezTo>
                  <a:pt x="479145" y="807134"/>
                  <a:pt x="481584" y="831518"/>
                  <a:pt x="490118" y="826641"/>
                </a:cubicBezTo>
                <a:cubicBezTo>
                  <a:pt x="498652" y="821764"/>
                  <a:pt x="516940" y="769339"/>
                  <a:pt x="526694" y="760805"/>
                </a:cubicBezTo>
                <a:cubicBezTo>
                  <a:pt x="536448" y="752271"/>
                  <a:pt x="540106" y="779093"/>
                  <a:pt x="548640" y="775435"/>
                </a:cubicBezTo>
                <a:cubicBezTo>
                  <a:pt x="557174" y="771777"/>
                  <a:pt x="574243" y="751051"/>
                  <a:pt x="577901" y="738859"/>
                </a:cubicBezTo>
                <a:cubicBezTo>
                  <a:pt x="581559" y="726667"/>
                  <a:pt x="565709" y="699845"/>
                  <a:pt x="570586" y="702283"/>
                </a:cubicBezTo>
                <a:cubicBezTo>
                  <a:pt x="575463" y="704721"/>
                  <a:pt x="594970" y="748612"/>
                  <a:pt x="607162" y="753489"/>
                </a:cubicBezTo>
                <a:cubicBezTo>
                  <a:pt x="619354" y="758366"/>
                  <a:pt x="640081" y="726667"/>
                  <a:pt x="643738" y="731544"/>
                </a:cubicBezTo>
                <a:cubicBezTo>
                  <a:pt x="647395" y="736421"/>
                  <a:pt x="624230" y="770558"/>
                  <a:pt x="629107" y="782750"/>
                </a:cubicBezTo>
                <a:cubicBezTo>
                  <a:pt x="633984" y="794942"/>
                  <a:pt x="663244" y="815669"/>
                  <a:pt x="672998" y="804696"/>
                </a:cubicBezTo>
                <a:cubicBezTo>
                  <a:pt x="682752" y="793723"/>
                  <a:pt x="677875" y="715694"/>
                  <a:pt x="687629" y="716913"/>
                </a:cubicBezTo>
                <a:cubicBezTo>
                  <a:pt x="697383" y="718132"/>
                  <a:pt x="721767" y="805915"/>
                  <a:pt x="731520" y="812011"/>
                </a:cubicBezTo>
                <a:cubicBezTo>
                  <a:pt x="741273" y="818107"/>
                  <a:pt x="737616" y="743735"/>
                  <a:pt x="746150" y="753489"/>
                </a:cubicBezTo>
                <a:cubicBezTo>
                  <a:pt x="754684" y="763243"/>
                  <a:pt x="774192" y="863218"/>
                  <a:pt x="782726" y="870533"/>
                </a:cubicBezTo>
                <a:cubicBezTo>
                  <a:pt x="791260" y="877848"/>
                  <a:pt x="787603" y="802258"/>
                  <a:pt x="797357" y="797381"/>
                </a:cubicBezTo>
                <a:cubicBezTo>
                  <a:pt x="807111" y="792504"/>
                  <a:pt x="831495" y="842491"/>
                  <a:pt x="841248" y="841272"/>
                </a:cubicBezTo>
                <a:cubicBezTo>
                  <a:pt x="851002" y="840053"/>
                  <a:pt x="847344" y="788846"/>
                  <a:pt x="855878" y="790065"/>
                </a:cubicBezTo>
                <a:cubicBezTo>
                  <a:pt x="864412" y="791284"/>
                  <a:pt x="882700" y="846149"/>
                  <a:pt x="892454" y="848587"/>
                </a:cubicBezTo>
                <a:cubicBezTo>
                  <a:pt x="902208" y="851025"/>
                  <a:pt x="907085" y="807134"/>
                  <a:pt x="914400" y="804696"/>
                </a:cubicBezTo>
                <a:cubicBezTo>
                  <a:pt x="921715" y="802258"/>
                  <a:pt x="929031" y="829080"/>
                  <a:pt x="936346" y="833957"/>
                </a:cubicBezTo>
                <a:cubicBezTo>
                  <a:pt x="943661" y="838834"/>
                  <a:pt x="952195" y="840053"/>
                  <a:pt x="958291" y="833957"/>
                </a:cubicBezTo>
                <a:cubicBezTo>
                  <a:pt x="964387" y="827861"/>
                  <a:pt x="965607" y="794943"/>
                  <a:pt x="972922" y="797381"/>
                </a:cubicBezTo>
                <a:cubicBezTo>
                  <a:pt x="980237" y="799819"/>
                  <a:pt x="993648" y="853464"/>
                  <a:pt x="1002182" y="848587"/>
                </a:cubicBezTo>
                <a:cubicBezTo>
                  <a:pt x="1010716" y="843710"/>
                  <a:pt x="1013155" y="760805"/>
                  <a:pt x="1024128" y="768120"/>
                </a:cubicBezTo>
                <a:cubicBezTo>
                  <a:pt x="1035101" y="775435"/>
                  <a:pt x="1058265" y="882725"/>
                  <a:pt x="1068019" y="892478"/>
                </a:cubicBezTo>
                <a:cubicBezTo>
                  <a:pt x="1077773" y="902231"/>
                  <a:pt x="1077773" y="835175"/>
                  <a:pt x="1082650" y="826641"/>
                </a:cubicBezTo>
                <a:cubicBezTo>
                  <a:pt x="1087527" y="818107"/>
                  <a:pt x="1088746" y="851026"/>
                  <a:pt x="1097280" y="841272"/>
                </a:cubicBezTo>
                <a:cubicBezTo>
                  <a:pt x="1105814" y="831519"/>
                  <a:pt x="1120445" y="766901"/>
                  <a:pt x="1133856" y="768120"/>
                </a:cubicBezTo>
                <a:cubicBezTo>
                  <a:pt x="1147267" y="769339"/>
                  <a:pt x="1169213" y="851026"/>
                  <a:pt x="1177747" y="848587"/>
                </a:cubicBezTo>
                <a:cubicBezTo>
                  <a:pt x="1186281" y="846149"/>
                  <a:pt x="1181404" y="772996"/>
                  <a:pt x="1185062" y="753489"/>
                </a:cubicBezTo>
                <a:cubicBezTo>
                  <a:pt x="1188720" y="733982"/>
                  <a:pt x="1194816" y="720571"/>
                  <a:pt x="1199693" y="731544"/>
                </a:cubicBezTo>
                <a:cubicBezTo>
                  <a:pt x="1204570" y="742517"/>
                  <a:pt x="1207008" y="810792"/>
                  <a:pt x="1214323" y="819326"/>
                </a:cubicBezTo>
                <a:cubicBezTo>
                  <a:pt x="1221638" y="827860"/>
                  <a:pt x="1235050" y="781531"/>
                  <a:pt x="1243584" y="782750"/>
                </a:cubicBezTo>
                <a:cubicBezTo>
                  <a:pt x="1252118" y="783969"/>
                  <a:pt x="1256996" y="826641"/>
                  <a:pt x="1265530" y="826641"/>
                </a:cubicBezTo>
                <a:cubicBezTo>
                  <a:pt x="1274064" y="826641"/>
                  <a:pt x="1285037" y="786408"/>
                  <a:pt x="1294790" y="782750"/>
                </a:cubicBezTo>
                <a:cubicBezTo>
                  <a:pt x="1304544" y="779093"/>
                  <a:pt x="1310640" y="805915"/>
                  <a:pt x="1324051" y="804696"/>
                </a:cubicBezTo>
                <a:cubicBezTo>
                  <a:pt x="1337462" y="803477"/>
                  <a:pt x="1361847" y="766901"/>
                  <a:pt x="1375258" y="775435"/>
                </a:cubicBezTo>
                <a:cubicBezTo>
                  <a:pt x="1388669" y="783969"/>
                  <a:pt x="1397203" y="853464"/>
                  <a:pt x="1404518" y="855902"/>
                </a:cubicBezTo>
                <a:cubicBezTo>
                  <a:pt x="1411833" y="858340"/>
                  <a:pt x="1413053" y="794942"/>
                  <a:pt x="1419149" y="790065"/>
                </a:cubicBezTo>
                <a:cubicBezTo>
                  <a:pt x="1425245" y="785188"/>
                  <a:pt x="1432560" y="821764"/>
                  <a:pt x="1441094" y="826641"/>
                </a:cubicBezTo>
                <a:cubicBezTo>
                  <a:pt x="1449628" y="831518"/>
                  <a:pt x="1458163" y="821764"/>
                  <a:pt x="1470355" y="819326"/>
                </a:cubicBezTo>
                <a:cubicBezTo>
                  <a:pt x="1482547" y="816888"/>
                  <a:pt x="1504492" y="820545"/>
                  <a:pt x="1514246" y="812011"/>
                </a:cubicBezTo>
                <a:cubicBezTo>
                  <a:pt x="1524000" y="803477"/>
                  <a:pt x="1519123" y="766901"/>
                  <a:pt x="1528877" y="768120"/>
                </a:cubicBezTo>
                <a:cubicBezTo>
                  <a:pt x="1538631" y="769339"/>
                  <a:pt x="1560576" y="827860"/>
                  <a:pt x="1572768" y="819326"/>
                </a:cubicBezTo>
                <a:cubicBezTo>
                  <a:pt x="1584960" y="810792"/>
                  <a:pt x="1593495" y="724228"/>
                  <a:pt x="1602029" y="716913"/>
                </a:cubicBezTo>
                <a:cubicBezTo>
                  <a:pt x="1610563" y="709598"/>
                  <a:pt x="1615440" y="771777"/>
                  <a:pt x="1623974" y="775435"/>
                </a:cubicBezTo>
                <a:cubicBezTo>
                  <a:pt x="1632508" y="779093"/>
                  <a:pt x="1645920" y="743736"/>
                  <a:pt x="1653235" y="738859"/>
                </a:cubicBezTo>
                <a:cubicBezTo>
                  <a:pt x="1660550" y="733982"/>
                  <a:pt x="1660551" y="749832"/>
                  <a:pt x="1667866" y="746174"/>
                </a:cubicBezTo>
                <a:cubicBezTo>
                  <a:pt x="1675181" y="742516"/>
                  <a:pt x="1686153" y="710817"/>
                  <a:pt x="1697126" y="716913"/>
                </a:cubicBezTo>
                <a:cubicBezTo>
                  <a:pt x="1708099" y="723009"/>
                  <a:pt x="1725168" y="775435"/>
                  <a:pt x="1733702" y="782750"/>
                </a:cubicBezTo>
                <a:cubicBezTo>
                  <a:pt x="1742236" y="790065"/>
                  <a:pt x="1741018" y="751051"/>
                  <a:pt x="1748333" y="760805"/>
                </a:cubicBezTo>
                <a:cubicBezTo>
                  <a:pt x="1755648" y="770559"/>
                  <a:pt x="1766621" y="838834"/>
                  <a:pt x="1777594" y="841272"/>
                </a:cubicBezTo>
                <a:cubicBezTo>
                  <a:pt x="1788567" y="843710"/>
                  <a:pt x="1801978" y="771778"/>
                  <a:pt x="1814170" y="775435"/>
                </a:cubicBezTo>
                <a:cubicBezTo>
                  <a:pt x="1826362" y="779092"/>
                  <a:pt x="1842212" y="843710"/>
                  <a:pt x="1850746" y="863217"/>
                </a:cubicBezTo>
                <a:cubicBezTo>
                  <a:pt x="1859280" y="882724"/>
                  <a:pt x="1853184" y="897355"/>
                  <a:pt x="1865376" y="892478"/>
                </a:cubicBezTo>
                <a:cubicBezTo>
                  <a:pt x="1877568" y="887601"/>
                  <a:pt x="1910487" y="832738"/>
                  <a:pt x="1923898" y="833957"/>
                </a:cubicBezTo>
                <a:cubicBezTo>
                  <a:pt x="1937309" y="835176"/>
                  <a:pt x="1936090" y="897355"/>
                  <a:pt x="1945843" y="899793"/>
                </a:cubicBezTo>
                <a:cubicBezTo>
                  <a:pt x="1955596" y="902231"/>
                  <a:pt x="1973885" y="851025"/>
                  <a:pt x="1982419" y="848587"/>
                </a:cubicBezTo>
                <a:cubicBezTo>
                  <a:pt x="1990954" y="846149"/>
                  <a:pt x="1986077" y="892478"/>
                  <a:pt x="1997050" y="885163"/>
                </a:cubicBezTo>
                <a:cubicBezTo>
                  <a:pt x="2008023" y="877848"/>
                  <a:pt x="2036064" y="803477"/>
                  <a:pt x="2048256" y="804696"/>
                </a:cubicBezTo>
                <a:cubicBezTo>
                  <a:pt x="2060448" y="805915"/>
                  <a:pt x="2064106" y="881505"/>
                  <a:pt x="2070202" y="892478"/>
                </a:cubicBezTo>
                <a:cubicBezTo>
                  <a:pt x="2076298" y="903451"/>
                  <a:pt x="2081175" y="868095"/>
                  <a:pt x="2084832" y="870533"/>
                </a:cubicBezTo>
                <a:cubicBezTo>
                  <a:pt x="2088489" y="872971"/>
                  <a:pt x="2082393" y="904671"/>
                  <a:pt x="2092147" y="907109"/>
                </a:cubicBezTo>
                <a:cubicBezTo>
                  <a:pt x="2101901" y="909547"/>
                  <a:pt x="2127504" y="883944"/>
                  <a:pt x="2143354" y="885163"/>
                </a:cubicBezTo>
                <a:cubicBezTo>
                  <a:pt x="2159204" y="886382"/>
                  <a:pt x="2173834" y="919301"/>
                  <a:pt x="2187245" y="914424"/>
                </a:cubicBezTo>
                <a:cubicBezTo>
                  <a:pt x="2200656" y="909547"/>
                  <a:pt x="2215287" y="859560"/>
                  <a:pt x="2223821" y="855902"/>
                </a:cubicBezTo>
                <a:cubicBezTo>
                  <a:pt x="2232355" y="852244"/>
                  <a:pt x="2232355" y="897355"/>
                  <a:pt x="2238451" y="892478"/>
                </a:cubicBezTo>
                <a:cubicBezTo>
                  <a:pt x="2244547" y="887601"/>
                  <a:pt x="2253082" y="840052"/>
                  <a:pt x="2260397" y="826641"/>
                </a:cubicBezTo>
                <a:cubicBezTo>
                  <a:pt x="2267712" y="813230"/>
                  <a:pt x="2273808" y="819326"/>
                  <a:pt x="2282342" y="812011"/>
                </a:cubicBezTo>
                <a:cubicBezTo>
                  <a:pt x="2290876" y="804696"/>
                  <a:pt x="2304288" y="776654"/>
                  <a:pt x="2311603" y="782750"/>
                </a:cubicBezTo>
                <a:cubicBezTo>
                  <a:pt x="2318918" y="788846"/>
                  <a:pt x="2318919" y="851025"/>
                  <a:pt x="2326234" y="848587"/>
                </a:cubicBezTo>
                <a:cubicBezTo>
                  <a:pt x="2333549" y="846149"/>
                  <a:pt x="2344521" y="765682"/>
                  <a:pt x="2355494" y="768120"/>
                </a:cubicBezTo>
                <a:cubicBezTo>
                  <a:pt x="2366467" y="770558"/>
                  <a:pt x="2378659" y="858340"/>
                  <a:pt x="2392070" y="863217"/>
                </a:cubicBezTo>
                <a:cubicBezTo>
                  <a:pt x="2405481" y="868094"/>
                  <a:pt x="2431085" y="797381"/>
                  <a:pt x="2435962" y="797381"/>
                </a:cubicBezTo>
                <a:cubicBezTo>
                  <a:pt x="2440839" y="797381"/>
                  <a:pt x="2420112" y="861998"/>
                  <a:pt x="2421331" y="863217"/>
                </a:cubicBezTo>
                <a:cubicBezTo>
                  <a:pt x="2422550" y="864436"/>
                  <a:pt x="2435962" y="805915"/>
                  <a:pt x="2443277" y="804696"/>
                </a:cubicBezTo>
                <a:cubicBezTo>
                  <a:pt x="2450592" y="803477"/>
                  <a:pt x="2456688" y="855902"/>
                  <a:pt x="2465222" y="855902"/>
                </a:cubicBezTo>
                <a:cubicBezTo>
                  <a:pt x="2473756" y="855902"/>
                  <a:pt x="2485949" y="807134"/>
                  <a:pt x="2494483" y="804696"/>
                </a:cubicBezTo>
                <a:cubicBezTo>
                  <a:pt x="2503018" y="802258"/>
                  <a:pt x="2512771" y="852245"/>
                  <a:pt x="2516429" y="841272"/>
                </a:cubicBezTo>
                <a:cubicBezTo>
                  <a:pt x="2520087" y="830299"/>
                  <a:pt x="2510333" y="751051"/>
                  <a:pt x="2516429" y="738859"/>
                </a:cubicBezTo>
                <a:cubicBezTo>
                  <a:pt x="2522525" y="726667"/>
                  <a:pt x="2545690" y="772997"/>
                  <a:pt x="2553005" y="768120"/>
                </a:cubicBezTo>
                <a:cubicBezTo>
                  <a:pt x="2560320" y="763243"/>
                  <a:pt x="2554224" y="712036"/>
                  <a:pt x="2560320" y="709598"/>
                </a:cubicBezTo>
                <a:cubicBezTo>
                  <a:pt x="2566416" y="707160"/>
                  <a:pt x="2585923" y="760804"/>
                  <a:pt x="2589581" y="753489"/>
                </a:cubicBezTo>
                <a:cubicBezTo>
                  <a:pt x="2593239" y="746174"/>
                  <a:pt x="2578609" y="670584"/>
                  <a:pt x="2582266" y="665707"/>
                </a:cubicBezTo>
                <a:cubicBezTo>
                  <a:pt x="2585923" y="660830"/>
                  <a:pt x="2607869" y="726667"/>
                  <a:pt x="2611526" y="724229"/>
                </a:cubicBezTo>
                <a:cubicBezTo>
                  <a:pt x="2615184" y="721791"/>
                  <a:pt x="2599334" y="648639"/>
                  <a:pt x="2604211" y="651077"/>
                </a:cubicBezTo>
                <a:cubicBezTo>
                  <a:pt x="2609088" y="653515"/>
                  <a:pt x="2632253" y="743736"/>
                  <a:pt x="2640787" y="738859"/>
                </a:cubicBezTo>
                <a:cubicBezTo>
                  <a:pt x="2649321" y="733982"/>
                  <a:pt x="2651760" y="647419"/>
                  <a:pt x="2655418" y="621816"/>
                </a:cubicBezTo>
                <a:cubicBezTo>
                  <a:pt x="2659076" y="596213"/>
                  <a:pt x="2660295" y="620597"/>
                  <a:pt x="2662733" y="585240"/>
                </a:cubicBezTo>
                <a:cubicBezTo>
                  <a:pt x="2665171" y="549883"/>
                  <a:pt x="2667610" y="460881"/>
                  <a:pt x="2670048" y="409675"/>
                </a:cubicBezTo>
                <a:cubicBezTo>
                  <a:pt x="2672486" y="358469"/>
                  <a:pt x="2674925" y="330427"/>
                  <a:pt x="2677363" y="278001"/>
                </a:cubicBezTo>
                <a:cubicBezTo>
                  <a:pt x="2679801" y="225575"/>
                  <a:pt x="2681020" y="141450"/>
                  <a:pt x="2684678" y="95121"/>
                </a:cubicBezTo>
                <a:cubicBezTo>
                  <a:pt x="2688336" y="48792"/>
                  <a:pt x="2693213" y="1243"/>
                  <a:pt x="2699309" y="24"/>
                </a:cubicBezTo>
                <a:cubicBezTo>
                  <a:pt x="2705405" y="-1195"/>
                  <a:pt x="2717597" y="43915"/>
                  <a:pt x="2721254" y="87806"/>
                </a:cubicBezTo>
                <a:cubicBezTo>
                  <a:pt x="2724911" y="131697"/>
                  <a:pt x="2718816" y="209726"/>
                  <a:pt x="2721254" y="263371"/>
                </a:cubicBezTo>
                <a:cubicBezTo>
                  <a:pt x="2723692" y="317016"/>
                  <a:pt x="2733446" y="364565"/>
                  <a:pt x="2735885" y="409675"/>
                </a:cubicBezTo>
                <a:cubicBezTo>
                  <a:pt x="2738324" y="454785"/>
                  <a:pt x="2734666" y="496238"/>
                  <a:pt x="2735885" y="534033"/>
                </a:cubicBezTo>
                <a:cubicBezTo>
                  <a:pt x="2737104" y="571828"/>
                  <a:pt x="2738323" y="634008"/>
                  <a:pt x="2743200" y="636446"/>
                </a:cubicBezTo>
                <a:cubicBezTo>
                  <a:pt x="2748077" y="638884"/>
                  <a:pt x="2755392" y="555979"/>
                  <a:pt x="2765146" y="548664"/>
                </a:cubicBezTo>
                <a:cubicBezTo>
                  <a:pt x="2774900" y="541349"/>
                  <a:pt x="2791969" y="596213"/>
                  <a:pt x="2801722" y="592555"/>
                </a:cubicBezTo>
                <a:cubicBezTo>
                  <a:pt x="2811475" y="588897"/>
                  <a:pt x="2816352" y="524280"/>
                  <a:pt x="2823667" y="526718"/>
                </a:cubicBezTo>
                <a:cubicBezTo>
                  <a:pt x="2830982" y="529156"/>
                  <a:pt x="2837079" y="603527"/>
                  <a:pt x="2845613" y="607185"/>
                </a:cubicBezTo>
                <a:cubicBezTo>
                  <a:pt x="2854147" y="610843"/>
                  <a:pt x="2866340" y="545006"/>
                  <a:pt x="2874874" y="548664"/>
                </a:cubicBezTo>
                <a:cubicBezTo>
                  <a:pt x="2883408" y="552322"/>
                  <a:pt x="2888285" y="632789"/>
                  <a:pt x="2896819" y="629131"/>
                </a:cubicBezTo>
                <a:cubicBezTo>
                  <a:pt x="2905353" y="625473"/>
                  <a:pt x="2917546" y="537691"/>
                  <a:pt x="2926080" y="526718"/>
                </a:cubicBezTo>
                <a:cubicBezTo>
                  <a:pt x="2934615" y="515745"/>
                  <a:pt x="2943149" y="532814"/>
                  <a:pt x="2948026" y="563294"/>
                </a:cubicBezTo>
                <a:cubicBezTo>
                  <a:pt x="2952903" y="593774"/>
                  <a:pt x="2951684" y="675460"/>
                  <a:pt x="2955341" y="709598"/>
                </a:cubicBezTo>
                <a:cubicBezTo>
                  <a:pt x="2958999" y="743736"/>
                  <a:pt x="2963875" y="764462"/>
                  <a:pt x="2969971" y="768120"/>
                </a:cubicBezTo>
                <a:cubicBezTo>
                  <a:pt x="2976067" y="771778"/>
                  <a:pt x="2985821" y="719352"/>
                  <a:pt x="2991917" y="731544"/>
                </a:cubicBezTo>
                <a:cubicBezTo>
                  <a:pt x="2998013" y="743736"/>
                  <a:pt x="3000451" y="814450"/>
                  <a:pt x="3006547" y="841272"/>
                </a:cubicBezTo>
                <a:cubicBezTo>
                  <a:pt x="3012643" y="868094"/>
                  <a:pt x="3021178" y="893697"/>
                  <a:pt x="3028493" y="892478"/>
                </a:cubicBezTo>
                <a:cubicBezTo>
                  <a:pt x="3035808" y="891259"/>
                  <a:pt x="3039465" y="831519"/>
                  <a:pt x="3050438" y="833957"/>
                </a:cubicBezTo>
                <a:cubicBezTo>
                  <a:pt x="3061411" y="836395"/>
                  <a:pt x="3084576" y="905890"/>
                  <a:pt x="3094330" y="907109"/>
                </a:cubicBezTo>
                <a:cubicBezTo>
                  <a:pt x="3104084" y="908328"/>
                  <a:pt x="3094330" y="837615"/>
                  <a:pt x="3108960" y="841272"/>
                </a:cubicBezTo>
                <a:cubicBezTo>
                  <a:pt x="3123590" y="844929"/>
                  <a:pt x="3171139" y="924177"/>
                  <a:pt x="3182112" y="929054"/>
                </a:cubicBezTo>
                <a:cubicBezTo>
                  <a:pt x="3193085" y="933931"/>
                  <a:pt x="3169920" y="874190"/>
                  <a:pt x="3174797" y="870533"/>
                </a:cubicBezTo>
                <a:cubicBezTo>
                  <a:pt x="3179674" y="866876"/>
                  <a:pt x="3202839" y="911986"/>
                  <a:pt x="3211373" y="907109"/>
                </a:cubicBezTo>
                <a:cubicBezTo>
                  <a:pt x="3219907" y="902232"/>
                  <a:pt x="3219907" y="843710"/>
                  <a:pt x="3226003" y="841272"/>
                </a:cubicBezTo>
                <a:cubicBezTo>
                  <a:pt x="3232099" y="838834"/>
                  <a:pt x="3241853" y="892478"/>
                  <a:pt x="3247949" y="892478"/>
                </a:cubicBezTo>
                <a:cubicBezTo>
                  <a:pt x="3254045" y="892478"/>
                  <a:pt x="3255264" y="837614"/>
                  <a:pt x="3262579" y="841272"/>
                </a:cubicBezTo>
                <a:cubicBezTo>
                  <a:pt x="3269894" y="844930"/>
                  <a:pt x="3278429" y="914424"/>
                  <a:pt x="3291840" y="914424"/>
                </a:cubicBezTo>
                <a:cubicBezTo>
                  <a:pt x="3305251" y="914424"/>
                  <a:pt x="3332073" y="848587"/>
                  <a:pt x="3343046" y="841272"/>
                </a:cubicBezTo>
                <a:cubicBezTo>
                  <a:pt x="3354019" y="833957"/>
                  <a:pt x="3350362" y="866876"/>
                  <a:pt x="3357677" y="870533"/>
                </a:cubicBezTo>
                <a:cubicBezTo>
                  <a:pt x="3364992" y="874191"/>
                  <a:pt x="3375965" y="868704"/>
                  <a:pt x="3386938" y="863217"/>
                </a:cubicBezTo>
              </a:path>
            </a:pathLst>
          </a:custGeom>
          <a:ln w="19050">
            <a:solidFill>
              <a:srgbClr val="00B0F0"/>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2813" fontAlgn="base">
              <a:spcBef>
                <a:spcPct val="0"/>
              </a:spcBef>
              <a:spcAft>
                <a:spcPct val="0"/>
              </a:spcAft>
            </a:pPr>
            <a:endParaRPr lang="en-US">
              <a:solidFill>
                <a:srgbClr val="292929"/>
              </a:solidFill>
            </a:endParaRPr>
          </a:p>
        </p:txBody>
      </p:sp>
      <p:sp>
        <p:nvSpPr>
          <p:cNvPr id="14" name="Freeform 13"/>
          <p:cNvSpPr/>
          <p:nvPr/>
        </p:nvSpPr>
        <p:spPr>
          <a:xfrm>
            <a:off x="1644794" y="4594166"/>
            <a:ext cx="4046382" cy="658948"/>
          </a:xfrm>
          <a:custGeom>
            <a:avLst/>
            <a:gdLst>
              <a:gd name="connsiteX0" fmla="*/ 0 w 3386937"/>
              <a:gd name="connsiteY0" fmla="*/ 600257 h 658948"/>
              <a:gd name="connsiteX1" fmla="*/ 51206 w 3386937"/>
              <a:gd name="connsiteY1" fmla="*/ 629517 h 658948"/>
              <a:gd name="connsiteX2" fmla="*/ 124358 w 3386937"/>
              <a:gd name="connsiteY2" fmla="*/ 644148 h 658948"/>
              <a:gd name="connsiteX3" fmla="*/ 146304 w 3386937"/>
              <a:gd name="connsiteY3" fmla="*/ 622202 h 658948"/>
              <a:gd name="connsiteX4" fmla="*/ 182880 w 3386937"/>
              <a:gd name="connsiteY4" fmla="*/ 629517 h 658948"/>
              <a:gd name="connsiteX5" fmla="*/ 204825 w 3386937"/>
              <a:gd name="connsiteY5" fmla="*/ 614887 h 658948"/>
              <a:gd name="connsiteX6" fmla="*/ 219456 w 3386937"/>
              <a:gd name="connsiteY6" fmla="*/ 614887 h 658948"/>
              <a:gd name="connsiteX7" fmla="*/ 270662 w 3386937"/>
              <a:gd name="connsiteY7" fmla="*/ 600257 h 658948"/>
              <a:gd name="connsiteX8" fmla="*/ 285293 w 3386937"/>
              <a:gd name="connsiteY8" fmla="*/ 629517 h 658948"/>
              <a:gd name="connsiteX9" fmla="*/ 365760 w 3386937"/>
              <a:gd name="connsiteY9" fmla="*/ 614887 h 658948"/>
              <a:gd name="connsiteX10" fmla="*/ 380390 w 3386937"/>
              <a:gd name="connsiteY10" fmla="*/ 629517 h 658948"/>
              <a:gd name="connsiteX11" fmla="*/ 438912 w 3386937"/>
              <a:gd name="connsiteY11" fmla="*/ 629517 h 658948"/>
              <a:gd name="connsiteX12" fmla="*/ 438912 w 3386937"/>
              <a:gd name="connsiteY12" fmla="*/ 614887 h 658948"/>
              <a:gd name="connsiteX13" fmla="*/ 475488 w 3386937"/>
              <a:gd name="connsiteY13" fmla="*/ 629517 h 658948"/>
              <a:gd name="connsiteX14" fmla="*/ 497433 w 3386937"/>
              <a:gd name="connsiteY14" fmla="*/ 658778 h 658948"/>
              <a:gd name="connsiteX15" fmla="*/ 526694 w 3386937"/>
              <a:gd name="connsiteY15" fmla="*/ 614887 h 658948"/>
              <a:gd name="connsiteX16" fmla="*/ 570585 w 3386937"/>
              <a:gd name="connsiteY16" fmla="*/ 636833 h 658948"/>
              <a:gd name="connsiteX17" fmla="*/ 585216 w 3386937"/>
              <a:gd name="connsiteY17" fmla="*/ 600257 h 658948"/>
              <a:gd name="connsiteX18" fmla="*/ 614477 w 3386937"/>
              <a:gd name="connsiteY18" fmla="*/ 636833 h 658948"/>
              <a:gd name="connsiteX19" fmla="*/ 665683 w 3386937"/>
              <a:gd name="connsiteY19" fmla="*/ 629517 h 658948"/>
              <a:gd name="connsiteX20" fmla="*/ 702259 w 3386937"/>
              <a:gd name="connsiteY20" fmla="*/ 585626 h 658948"/>
              <a:gd name="connsiteX21" fmla="*/ 724205 w 3386937"/>
              <a:gd name="connsiteY21" fmla="*/ 614887 h 658948"/>
              <a:gd name="connsiteX22" fmla="*/ 760781 w 3386937"/>
              <a:gd name="connsiteY22" fmla="*/ 592941 h 658948"/>
              <a:gd name="connsiteX23" fmla="*/ 782726 w 3386937"/>
              <a:gd name="connsiteY23" fmla="*/ 651463 h 658948"/>
              <a:gd name="connsiteX24" fmla="*/ 797357 w 3386937"/>
              <a:gd name="connsiteY24" fmla="*/ 607572 h 658948"/>
              <a:gd name="connsiteX25" fmla="*/ 826617 w 3386937"/>
              <a:gd name="connsiteY25" fmla="*/ 636833 h 658948"/>
              <a:gd name="connsiteX26" fmla="*/ 848563 w 3386937"/>
              <a:gd name="connsiteY26" fmla="*/ 614887 h 658948"/>
              <a:gd name="connsiteX27" fmla="*/ 899769 w 3386937"/>
              <a:gd name="connsiteY27" fmla="*/ 644148 h 658948"/>
              <a:gd name="connsiteX28" fmla="*/ 907085 w 3386937"/>
              <a:gd name="connsiteY28" fmla="*/ 600257 h 658948"/>
              <a:gd name="connsiteX29" fmla="*/ 936345 w 3386937"/>
              <a:gd name="connsiteY29" fmla="*/ 622202 h 658948"/>
              <a:gd name="connsiteX30" fmla="*/ 972921 w 3386937"/>
              <a:gd name="connsiteY30" fmla="*/ 592941 h 658948"/>
              <a:gd name="connsiteX31" fmla="*/ 1009497 w 3386937"/>
              <a:gd name="connsiteY31" fmla="*/ 644148 h 658948"/>
              <a:gd name="connsiteX32" fmla="*/ 1031443 w 3386937"/>
              <a:gd name="connsiteY32" fmla="*/ 607572 h 658948"/>
              <a:gd name="connsiteX33" fmla="*/ 1053389 w 3386937"/>
              <a:gd name="connsiteY33" fmla="*/ 644148 h 658948"/>
              <a:gd name="connsiteX34" fmla="*/ 1082649 w 3386937"/>
              <a:gd name="connsiteY34" fmla="*/ 644148 h 658948"/>
              <a:gd name="connsiteX35" fmla="*/ 1097280 w 3386937"/>
              <a:gd name="connsiteY35" fmla="*/ 658778 h 658948"/>
              <a:gd name="connsiteX36" fmla="*/ 1133856 w 3386937"/>
              <a:gd name="connsiteY36" fmla="*/ 636833 h 658948"/>
              <a:gd name="connsiteX37" fmla="*/ 1177747 w 3386937"/>
              <a:gd name="connsiteY37" fmla="*/ 636833 h 658948"/>
              <a:gd name="connsiteX38" fmla="*/ 1192377 w 3386937"/>
              <a:gd name="connsiteY38" fmla="*/ 607572 h 658948"/>
              <a:gd name="connsiteX39" fmla="*/ 1250899 w 3386937"/>
              <a:gd name="connsiteY39" fmla="*/ 629517 h 658948"/>
              <a:gd name="connsiteX40" fmla="*/ 1258214 w 3386937"/>
              <a:gd name="connsiteY40" fmla="*/ 592941 h 658948"/>
              <a:gd name="connsiteX41" fmla="*/ 1272845 w 3386937"/>
              <a:gd name="connsiteY41" fmla="*/ 636833 h 658948"/>
              <a:gd name="connsiteX42" fmla="*/ 1294790 w 3386937"/>
              <a:gd name="connsiteY42" fmla="*/ 607572 h 658948"/>
              <a:gd name="connsiteX43" fmla="*/ 1324051 w 3386937"/>
              <a:gd name="connsiteY43" fmla="*/ 607572 h 658948"/>
              <a:gd name="connsiteX44" fmla="*/ 1338681 w 3386937"/>
              <a:gd name="connsiteY44" fmla="*/ 636833 h 658948"/>
              <a:gd name="connsiteX45" fmla="*/ 1367942 w 3386937"/>
              <a:gd name="connsiteY45" fmla="*/ 629517 h 658948"/>
              <a:gd name="connsiteX46" fmla="*/ 1389888 w 3386937"/>
              <a:gd name="connsiteY46" fmla="*/ 651463 h 658948"/>
              <a:gd name="connsiteX47" fmla="*/ 1419149 w 3386937"/>
              <a:gd name="connsiteY47" fmla="*/ 607572 h 658948"/>
              <a:gd name="connsiteX48" fmla="*/ 1448409 w 3386937"/>
              <a:gd name="connsiteY48" fmla="*/ 636833 h 658948"/>
              <a:gd name="connsiteX49" fmla="*/ 1477670 w 3386937"/>
              <a:gd name="connsiteY49" fmla="*/ 600257 h 658948"/>
              <a:gd name="connsiteX50" fmla="*/ 1543507 w 3386937"/>
              <a:gd name="connsiteY50" fmla="*/ 614887 h 658948"/>
              <a:gd name="connsiteX51" fmla="*/ 1558137 w 3386937"/>
              <a:gd name="connsiteY51" fmla="*/ 636833 h 658948"/>
              <a:gd name="connsiteX52" fmla="*/ 1587398 w 3386937"/>
              <a:gd name="connsiteY52" fmla="*/ 592941 h 658948"/>
              <a:gd name="connsiteX53" fmla="*/ 1616659 w 3386937"/>
              <a:gd name="connsiteY53" fmla="*/ 592941 h 658948"/>
              <a:gd name="connsiteX54" fmla="*/ 1645920 w 3386937"/>
              <a:gd name="connsiteY54" fmla="*/ 614887 h 658948"/>
              <a:gd name="connsiteX55" fmla="*/ 1653235 w 3386937"/>
              <a:gd name="connsiteY55" fmla="*/ 592941 h 658948"/>
              <a:gd name="connsiteX56" fmla="*/ 1682496 w 3386937"/>
              <a:gd name="connsiteY56" fmla="*/ 592941 h 658948"/>
              <a:gd name="connsiteX57" fmla="*/ 1719072 w 3386937"/>
              <a:gd name="connsiteY57" fmla="*/ 622202 h 658948"/>
              <a:gd name="connsiteX58" fmla="*/ 1748333 w 3386937"/>
              <a:gd name="connsiteY58" fmla="*/ 585626 h 658948"/>
              <a:gd name="connsiteX59" fmla="*/ 1792224 w 3386937"/>
              <a:gd name="connsiteY59" fmla="*/ 622202 h 658948"/>
              <a:gd name="connsiteX60" fmla="*/ 1836115 w 3386937"/>
              <a:gd name="connsiteY60" fmla="*/ 592941 h 658948"/>
              <a:gd name="connsiteX61" fmla="*/ 1858061 w 3386937"/>
              <a:gd name="connsiteY61" fmla="*/ 629517 h 658948"/>
              <a:gd name="connsiteX62" fmla="*/ 1894637 w 3386937"/>
              <a:gd name="connsiteY62" fmla="*/ 614887 h 658948"/>
              <a:gd name="connsiteX63" fmla="*/ 1931213 w 3386937"/>
              <a:gd name="connsiteY63" fmla="*/ 600257 h 658948"/>
              <a:gd name="connsiteX64" fmla="*/ 1975104 w 3386937"/>
              <a:gd name="connsiteY64" fmla="*/ 607572 h 658948"/>
              <a:gd name="connsiteX65" fmla="*/ 1967789 w 3386937"/>
              <a:gd name="connsiteY65" fmla="*/ 622202 h 658948"/>
              <a:gd name="connsiteX66" fmla="*/ 2004365 w 3386937"/>
              <a:gd name="connsiteY66" fmla="*/ 607572 h 658948"/>
              <a:gd name="connsiteX67" fmla="*/ 2026310 w 3386937"/>
              <a:gd name="connsiteY67" fmla="*/ 629517 h 658948"/>
              <a:gd name="connsiteX68" fmla="*/ 2040941 w 3386937"/>
              <a:gd name="connsiteY68" fmla="*/ 592941 h 658948"/>
              <a:gd name="connsiteX69" fmla="*/ 2070201 w 3386937"/>
              <a:gd name="connsiteY69" fmla="*/ 607572 h 658948"/>
              <a:gd name="connsiteX70" fmla="*/ 2128723 w 3386937"/>
              <a:gd name="connsiteY70" fmla="*/ 607572 h 658948"/>
              <a:gd name="connsiteX71" fmla="*/ 2157984 w 3386937"/>
              <a:gd name="connsiteY71" fmla="*/ 592941 h 658948"/>
              <a:gd name="connsiteX72" fmla="*/ 2179929 w 3386937"/>
              <a:gd name="connsiteY72" fmla="*/ 622202 h 658948"/>
              <a:gd name="connsiteX73" fmla="*/ 2209190 w 3386937"/>
              <a:gd name="connsiteY73" fmla="*/ 585626 h 658948"/>
              <a:gd name="connsiteX74" fmla="*/ 2238451 w 3386937"/>
              <a:gd name="connsiteY74" fmla="*/ 607572 h 658948"/>
              <a:gd name="connsiteX75" fmla="*/ 2253081 w 3386937"/>
              <a:gd name="connsiteY75" fmla="*/ 556365 h 658948"/>
              <a:gd name="connsiteX76" fmla="*/ 2275027 w 3386937"/>
              <a:gd name="connsiteY76" fmla="*/ 578311 h 658948"/>
              <a:gd name="connsiteX77" fmla="*/ 2289657 w 3386937"/>
              <a:gd name="connsiteY77" fmla="*/ 549050 h 658948"/>
              <a:gd name="connsiteX78" fmla="*/ 2304288 w 3386937"/>
              <a:gd name="connsiteY78" fmla="*/ 570996 h 658948"/>
              <a:gd name="connsiteX79" fmla="*/ 2333549 w 3386937"/>
              <a:gd name="connsiteY79" fmla="*/ 527105 h 658948"/>
              <a:gd name="connsiteX80" fmla="*/ 2392070 w 3386937"/>
              <a:gd name="connsiteY80" fmla="*/ 570996 h 658948"/>
              <a:gd name="connsiteX81" fmla="*/ 2414016 w 3386937"/>
              <a:gd name="connsiteY81" fmla="*/ 607572 h 658948"/>
              <a:gd name="connsiteX82" fmla="*/ 2443277 w 3386937"/>
              <a:gd name="connsiteY82" fmla="*/ 563681 h 658948"/>
              <a:gd name="connsiteX83" fmla="*/ 2450592 w 3386937"/>
              <a:gd name="connsiteY83" fmla="*/ 578311 h 658948"/>
              <a:gd name="connsiteX84" fmla="*/ 2487168 w 3386937"/>
              <a:gd name="connsiteY84" fmla="*/ 549050 h 658948"/>
              <a:gd name="connsiteX85" fmla="*/ 2509113 w 3386937"/>
              <a:gd name="connsiteY85" fmla="*/ 563681 h 658948"/>
              <a:gd name="connsiteX86" fmla="*/ 2523744 w 3386937"/>
              <a:gd name="connsiteY86" fmla="*/ 549050 h 658948"/>
              <a:gd name="connsiteX87" fmla="*/ 2531059 w 3386937"/>
              <a:gd name="connsiteY87" fmla="*/ 468583 h 658948"/>
              <a:gd name="connsiteX88" fmla="*/ 2545689 w 3386937"/>
              <a:gd name="connsiteY88" fmla="*/ 490529 h 658948"/>
              <a:gd name="connsiteX89" fmla="*/ 2567635 w 3386937"/>
              <a:gd name="connsiteY89" fmla="*/ 453953 h 658948"/>
              <a:gd name="connsiteX90" fmla="*/ 2582265 w 3386937"/>
              <a:gd name="connsiteY90" fmla="*/ 439322 h 658948"/>
              <a:gd name="connsiteX91" fmla="*/ 2596896 w 3386937"/>
              <a:gd name="connsiteY91" fmla="*/ 380801 h 658948"/>
              <a:gd name="connsiteX92" fmla="*/ 2626157 w 3386937"/>
              <a:gd name="connsiteY92" fmla="*/ 453953 h 658948"/>
              <a:gd name="connsiteX93" fmla="*/ 2655417 w 3386937"/>
              <a:gd name="connsiteY93" fmla="*/ 395431 h 658948"/>
              <a:gd name="connsiteX94" fmla="*/ 2677363 w 3386937"/>
              <a:gd name="connsiteY94" fmla="*/ 358855 h 658948"/>
              <a:gd name="connsiteX95" fmla="*/ 2677363 w 3386937"/>
              <a:gd name="connsiteY95" fmla="*/ 271073 h 658948"/>
              <a:gd name="connsiteX96" fmla="*/ 2684678 w 3386937"/>
              <a:gd name="connsiteY96" fmla="*/ 146714 h 658948"/>
              <a:gd name="connsiteX97" fmla="*/ 2699309 w 3386937"/>
              <a:gd name="connsiteY97" fmla="*/ 110138 h 658948"/>
              <a:gd name="connsiteX98" fmla="*/ 2713939 w 3386937"/>
              <a:gd name="connsiteY98" fmla="*/ 410 h 658948"/>
              <a:gd name="connsiteX99" fmla="*/ 2743200 w 3386937"/>
              <a:gd name="connsiteY99" fmla="*/ 154029 h 658948"/>
              <a:gd name="connsiteX100" fmla="*/ 2743200 w 3386937"/>
              <a:gd name="connsiteY100" fmla="*/ 344225 h 658948"/>
              <a:gd name="connsiteX101" fmla="*/ 2765145 w 3386937"/>
              <a:gd name="connsiteY101" fmla="*/ 314964 h 658948"/>
              <a:gd name="connsiteX102" fmla="*/ 2794406 w 3386937"/>
              <a:gd name="connsiteY102" fmla="*/ 366170 h 658948"/>
              <a:gd name="connsiteX103" fmla="*/ 2823667 w 3386937"/>
              <a:gd name="connsiteY103" fmla="*/ 285703 h 658948"/>
              <a:gd name="connsiteX104" fmla="*/ 2852928 w 3386937"/>
              <a:gd name="connsiteY104" fmla="*/ 380801 h 658948"/>
              <a:gd name="connsiteX105" fmla="*/ 2874873 w 3386937"/>
              <a:gd name="connsiteY105" fmla="*/ 388116 h 658948"/>
              <a:gd name="connsiteX106" fmla="*/ 2889504 w 3386937"/>
              <a:gd name="connsiteY106" fmla="*/ 380801 h 658948"/>
              <a:gd name="connsiteX107" fmla="*/ 2896819 w 3386937"/>
              <a:gd name="connsiteY107" fmla="*/ 468583 h 658948"/>
              <a:gd name="connsiteX108" fmla="*/ 2955341 w 3386937"/>
              <a:gd name="connsiteY108" fmla="*/ 570996 h 658948"/>
              <a:gd name="connsiteX109" fmla="*/ 2962656 w 3386937"/>
              <a:gd name="connsiteY109" fmla="*/ 607572 h 658948"/>
              <a:gd name="connsiteX110" fmla="*/ 3006547 w 3386937"/>
              <a:gd name="connsiteY110" fmla="*/ 585626 h 658948"/>
              <a:gd name="connsiteX111" fmla="*/ 3028493 w 3386937"/>
              <a:gd name="connsiteY111" fmla="*/ 629517 h 658948"/>
              <a:gd name="connsiteX112" fmla="*/ 3050438 w 3386937"/>
              <a:gd name="connsiteY112" fmla="*/ 607572 h 658948"/>
              <a:gd name="connsiteX113" fmla="*/ 3087014 w 3386937"/>
              <a:gd name="connsiteY113" fmla="*/ 651463 h 658948"/>
              <a:gd name="connsiteX114" fmla="*/ 3123590 w 3386937"/>
              <a:gd name="connsiteY114" fmla="*/ 607572 h 658948"/>
              <a:gd name="connsiteX115" fmla="*/ 3174797 w 3386937"/>
              <a:gd name="connsiteY115" fmla="*/ 629517 h 658948"/>
              <a:gd name="connsiteX116" fmla="*/ 3196742 w 3386937"/>
              <a:gd name="connsiteY116" fmla="*/ 644148 h 658948"/>
              <a:gd name="connsiteX117" fmla="*/ 3255264 w 3386937"/>
              <a:gd name="connsiteY117" fmla="*/ 636833 h 658948"/>
              <a:gd name="connsiteX118" fmla="*/ 3299155 w 3386937"/>
              <a:gd name="connsiteY118" fmla="*/ 607572 h 658948"/>
              <a:gd name="connsiteX119" fmla="*/ 3357677 w 3386937"/>
              <a:gd name="connsiteY119" fmla="*/ 607572 h 658948"/>
              <a:gd name="connsiteX120" fmla="*/ 3386937 w 3386937"/>
              <a:gd name="connsiteY120" fmla="*/ 607572 h 658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3386937" h="658948">
                <a:moveTo>
                  <a:pt x="0" y="600257"/>
                </a:moveTo>
                <a:cubicBezTo>
                  <a:pt x="15240" y="611229"/>
                  <a:pt x="30480" y="622202"/>
                  <a:pt x="51206" y="629517"/>
                </a:cubicBezTo>
                <a:cubicBezTo>
                  <a:pt x="71932" y="636832"/>
                  <a:pt x="108508" y="645367"/>
                  <a:pt x="124358" y="644148"/>
                </a:cubicBezTo>
                <a:cubicBezTo>
                  <a:pt x="140208" y="642929"/>
                  <a:pt x="136550" y="624640"/>
                  <a:pt x="146304" y="622202"/>
                </a:cubicBezTo>
                <a:cubicBezTo>
                  <a:pt x="156058" y="619764"/>
                  <a:pt x="173127" y="630736"/>
                  <a:pt x="182880" y="629517"/>
                </a:cubicBezTo>
                <a:cubicBezTo>
                  <a:pt x="192633" y="628298"/>
                  <a:pt x="198729" y="617325"/>
                  <a:pt x="204825" y="614887"/>
                </a:cubicBezTo>
                <a:cubicBezTo>
                  <a:pt x="210921" y="612449"/>
                  <a:pt x="208483" y="617325"/>
                  <a:pt x="219456" y="614887"/>
                </a:cubicBezTo>
                <a:cubicBezTo>
                  <a:pt x="230429" y="612449"/>
                  <a:pt x="259689" y="597819"/>
                  <a:pt x="270662" y="600257"/>
                </a:cubicBezTo>
                <a:cubicBezTo>
                  <a:pt x="281635" y="602695"/>
                  <a:pt x="269443" y="627079"/>
                  <a:pt x="285293" y="629517"/>
                </a:cubicBezTo>
                <a:cubicBezTo>
                  <a:pt x="301143" y="631955"/>
                  <a:pt x="349911" y="614887"/>
                  <a:pt x="365760" y="614887"/>
                </a:cubicBezTo>
                <a:cubicBezTo>
                  <a:pt x="381609" y="614887"/>
                  <a:pt x="368198" y="627079"/>
                  <a:pt x="380390" y="629517"/>
                </a:cubicBezTo>
                <a:cubicBezTo>
                  <a:pt x="392582" y="631955"/>
                  <a:pt x="429158" y="631955"/>
                  <a:pt x="438912" y="629517"/>
                </a:cubicBezTo>
                <a:cubicBezTo>
                  <a:pt x="448666" y="627079"/>
                  <a:pt x="432816" y="614887"/>
                  <a:pt x="438912" y="614887"/>
                </a:cubicBezTo>
                <a:cubicBezTo>
                  <a:pt x="445008" y="614887"/>
                  <a:pt x="465735" y="622202"/>
                  <a:pt x="475488" y="629517"/>
                </a:cubicBezTo>
                <a:cubicBezTo>
                  <a:pt x="485241" y="636832"/>
                  <a:pt x="488899" y="661216"/>
                  <a:pt x="497433" y="658778"/>
                </a:cubicBezTo>
                <a:cubicBezTo>
                  <a:pt x="505967" y="656340"/>
                  <a:pt x="514502" y="618544"/>
                  <a:pt x="526694" y="614887"/>
                </a:cubicBezTo>
                <a:cubicBezTo>
                  <a:pt x="538886" y="611230"/>
                  <a:pt x="560831" y="639271"/>
                  <a:pt x="570585" y="636833"/>
                </a:cubicBezTo>
                <a:cubicBezTo>
                  <a:pt x="580339" y="634395"/>
                  <a:pt x="577901" y="600257"/>
                  <a:pt x="585216" y="600257"/>
                </a:cubicBezTo>
                <a:cubicBezTo>
                  <a:pt x="592531" y="600257"/>
                  <a:pt x="601066" y="631956"/>
                  <a:pt x="614477" y="636833"/>
                </a:cubicBezTo>
                <a:cubicBezTo>
                  <a:pt x="627888" y="641710"/>
                  <a:pt x="651053" y="638051"/>
                  <a:pt x="665683" y="629517"/>
                </a:cubicBezTo>
                <a:cubicBezTo>
                  <a:pt x="680313" y="620983"/>
                  <a:pt x="692505" y="588064"/>
                  <a:pt x="702259" y="585626"/>
                </a:cubicBezTo>
                <a:cubicBezTo>
                  <a:pt x="712013" y="583188"/>
                  <a:pt x="714451" y="613668"/>
                  <a:pt x="724205" y="614887"/>
                </a:cubicBezTo>
                <a:cubicBezTo>
                  <a:pt x="733959" y="616106"/>
                  <a:pt x="751028" y="586845"/>
                  <a:pt x="760781" y="592941"/>
                </a:cubicBezTo>
                <a:cubicBezTo>
                  <a:pt x="770534" y="599037"/>
                  <a:pt x="776630" y="649025"/>
                  <a:pt x="782726" y="651463"/>
                </a:cubicBezTo>
                <a:cubicBezTo>
                  <a:pt x="788822" y="653901"/>
                  <a:pt x="790042" y="610010"/>
                  <a:pt x="797357" y="607572"/>
                </a:cubicBezTo>
                <a:cubicBezTo>
                  <a:pt x="804672" y="605134"/>
                  <a:pt x="818083" y="635614"/>
                  <a:pt x="826617" y="636833"/>
                </a:cubicBezTo>
                <a:cubicBezTo>
                  <a:pt x="835151" y="638052"/>
                  <a:pt x="836371" y="613668"/>
                  <a:pt x="848563" y="614887"/>
                </a:cubicBezTo>
                <a:cubicBezTo>
                  <a:pt x="860755" y="616106"/>
                  <a:pt x="890015" y="646586"/>
                  <a:pt x="899769" y="644148"/>
                </a:cubicBezTo>
                <a:cubicBezTo>
                  <a:pt x="909523" y="641710"/>
                  <a:pt x="900989" y="603915"/>
                  <a:pt x="907085" y="600257"/>
                </a:cubicBezTo>
                <a:cubicBezTo>
                  <a:pt x="913181" y="596599"/>
                  <a:pt x="925372" y="623421"/>
                  <a:pt x="936345" y="622202"/>
                </a:cubicBezTo>
                <a:cubicBezTo>
                  <a:pt x="947318" y="620983"/>
                  <a:pt x="960729" y="589283"/>
                  <a:pt x="972921" y="592941"/>
                </a:cubicBezTo>
                <a:cubicBezTo>
                  <a:pt x="985113" y="596599"/>
                  <a:pt x="999743" y="641710"/>
                  <a:pt x="1009497" y="644148"/>
                </a:cubicBezTo>
                <a:cubicBezTo>
                  <a:pt x="1019251" y="646586"/>
                  <a:pt x="1024128" y="607572"/>
                  <a:pt x="1031443" y="607572"/>
                </a:cubicBezTo>
                <a:cubicBezTo>
                  <a:pt x="1038758" y="607572"/>
                  <a:pt x="1044855" y="638052"/>
                  <a:pt x="1053389" y="644148"/>
                </a:cubicBezTo>
                <a:cubicBezTo>
                  <a:pt x="1061923" y="650244"/>
                  <a:pt x="1075334" y="641710"/>
                  <a:pt x="1082649" y="644148"/>
                </a:cubicBezTo>
                <a:cubicBezTo>
                  <a:pt x="1089964" y="646586"/>
                  <a:pt x="1088746" y="659997"/>
                  <a:pt x="1097280" y="658778"/>
                </a:cubicBezTo>
                <a:cubicBezTo>
                  <a:pt x="1105814" y="657559"/>
                  <a:pt x="1120445" y="640490"/>
                  <a:pt x="1133856" y="636833"/>
                </a:cubicBezTo>
                <a:cubicBezTo>
                  <a:pt x="1147267" y="633176"/>
                  <a:pt x="1167994" y="641710"/>
                  <a:pt x="1177747" y="636833"/>
                </a:cubicBezTo>
                <a:cubicBezTo>
                  <a:pt x="1187500" y="631956"/>
                  <a:pt x="1180185" y="608791"/>
                  <a:pt x="1192377" y="607572"/>
                </a:cubicBezTo>
                <a:cubicBezTo>
                  <a:pt x="1204569" y="606353"/>
                  <a:pt x="1239926" y="631955"/>
                  <a:pt x="1250899" y="629517"/>
                </a:cubicBezTo>
                <a:cubicBezTo>
                  <a:pt x="1261872" y="627079"/>
                  <a:pt x="1254556" y="591722"/>
                  <a:pt x="1258214" y="592941"/>
                </a:cubicBezTo>
                <a:cubicBezTo>
                  <a:pt x="1261872" y="594160"/>
                  <a:pt x="1266749" y="634395"/>
                  <a:pt x="1272845" y="636833"/>
                </a:cubicBezTo>
                <a:cubicBezTo>
                  <a:pt x="1278941" y="639271"/>
                  <a:pt x="1286256" y="612449"/>
                  <a:pt x="1294790" y="607572"/>
                </a:cubicBezTo>
                <a:cubicBezTo>
                  <a:pt x="1303324" y="602695"/>
                  <a:pt x="1316736" y="602695"/>
                  <a:pt x="1324051" y="607572"/>
                </a:cubicBezTo>
                <a:cubicBezTo>
                  <a:pt x="1331366" y="612449"/>
                  <a:pt x="1331366" y="633176"/>
                  <a:pt x="1338681" y="636833"/>
                </a:cubicBezTo>
                <a:cubicBezTo>
                  <a:pt x="1345996" y="640490"/>
                  <a:pt x="1359408" y="627079"/>
                  <a:pt x="1367942" y="629517"/>
                </a:cubicBezTo>
                <a:cubicBezTo>
                  <a:pt x="1376477" y="631955"/>
                  <a:pt x="1381354" y="655121"/>
                  <a:pt x="1389888" y="651463"/>
                </a:cubicBezTo>
                <a:cubicBezTo>
                  <a:pt x="1398423" y="647806"/>
                  <a:pt x="1409396" y="610010"/>
                  <a:pt x="1419149" y="607572"/>
                </a:cubicBezTo>
                <a:cubicBezTo>
                  <a:pt x="1428902" y="605134"/>
                  <a:pt x="1438656" y="638052"/>
                  <a:pt x="1448409" y="636833"/>
                </a:cubicBezTo>
                <a:cubicBezTo>
                  <a:pt x="1458162" y="635614"/>
                  <a:pt x="1461820" y="603915"/>
                  <a:pt x="1477670" y="600257"/>
                </a:cubicBezTo>
                <a:cubicBezTo>
                  <a:pt x="1493520" y="596599"/>
                  <a:pt x="1530096" y="608791"/>
                  <a:pt x="1543507" y="614887"/>
                </a:cubicBezTo>
                <a:cubicBezTo>
                  <a:pt x="1556918" y="620983"/>
                  <a:pt x="1550822" y="640491"/>
                  <a:pt x="1558137" y="636833"/>
                </a:cubicBezTo>
                <a:cubicBezTo>
                  <a:pt x="1565452" y="633175"/>
                  <a:pt x="1577644" y="600256"/>
                  <a:pt x="1587398" y="592941"/>
                </a:cubicBezTo>
                <a:cubicBezTo>
                  <a:pt x="1597152" y="585626"/>
                  <a:pt x="1606906" y="589283"/>
                  <a:pt x="1616659" y="592941"/>
                </a:cubicBezTo>
                <a:cubicBezTo>
                  <a:pt x="1626412" y="596599"/>
                  <a:pt x="1639824" y="614887"/>
                  <a:pt x="1645920" y="614887"/>
                </a:cubicBezTo>
                <a:cubicBezTo>
                  <a:pt x="1652016" y="614887"/>
                  <a:pt x="1647139" y="596599"/>
                  <a:pt x="1653235" y="592941"/>
                </a:cubicBezTo>
                <a:cubicBezTo>
                  <a:pt x="1659331" y="589283"/>
                  <a:pt x="1671523" y="588064"/>
                  <a:pt x="1682496" y="592941"/>
                </a:cubicBezTo>
                <a:cubicBezTo>
                  <a:pt x="1693469" y="597818"/>
                  <a:pt x="1708099" y="623421"/>
                  <a:pt x="1719072" y="622202"/>
                </a:cubicBezTo>
                <a:cubicBezTo>
                  <a:pt x="1730045" y="620983"/>
                  <a:pt x="1736141" y="585626"/>
                  <a:pt x="1748333" y="585626"/>
                </a:cubicBezTo>
                <a:cubicBezTo>
                  <a:pt x="1760525" y="585626"/>
                  <a:pt x="1777594" y="620983"/>
                  <a:pt x="1792224" y="622202"/>
                </a:cubicBezTo>
                <a:cubicBezTo>
                  <a:pt x="1806854" y="623421"/>
                  <a:pt x="1825142" y="591722"/>
                  <a:pt x="1836115" y="592941"/>
                </a:cubicBezTo>
                <a:cubicBezTo>
                  <a:pt x="1847088" y="594160"/>
                  <a:pt x="1848308" y="625859"/>
                  <a:pt x="1858061" y="629517"/>
                </a:cubicBezTo>
                <a:cubicBezTo>
                  <a:pt x="1867814" y="633175"/>
                  <a:pt x="1894637" y="614887"/>
                  <a:pt x="1894637" y="614887"/>
                </a:cubicBezTo>
                <a:cubicBezTo>
                  <a:pt x="1906829" y="610010"/>
                  <a:pt x="1917802" y="601476"/>
                  <a:pt x="1931213" y="600257"/>
                </a:cubicBezTo>
                <a:cubicBezTo>
                  <a:pt x="1944624" y="599038"/>
                  <a:pt x="1969008" y="603915"/>
                  <a:pt x="1975104" y="607572"/>
                </a:cubicBezTo>
                <a:cubicBezTo>
                  <a:pt x="1981200" y="611229"/>
                  <a:pt x="1962912" y="622202"/>
                  <a:pt x="1967789" y="622202"/>
                </a:cubicBezTo>
                <a:cubicBezTo>
                  <a:pt x="1972666" y="622202"/>
                  <a:pt x="1994612" y="606353"/>
                  <a:pt x="2004365" y="607572"/>
                </a:cubicBezTo>
                <a:cubicBezTo>
                  <a:pt x="2014118" y="608791"/>
                  <a:pt x="2020214" y="631955"/>
                  <a:pt x="2026310" y="629517"/>
                </a:cubicBezTo>
                <a:cubicBezTo>
                  <a:pt x="2032406" y="627079"/>
                  <a:pt x="2033626" y="596598"/>
                  <a:pt x="2040941" y="592941"/>
                </a:cubicBezTo>
                <a:cubicBezTo>
                  <a:pt x="2048256" y="589284"/>
                  <a:pt x="2055571" y="605134"/>
                  <a:pt x="2070201" y="607572"/>
                </a:cubicBezTo>
                <a:cubicBezTo>
                  <a:pt x="2084831" y="610010"/>
                  <a:pt x="2114093" y="610010"/>
                  <a:pt x="2128723" y="607572"/>
                </a:cubicBezTo>
                <a:cubicBezTo>
                  <a:pt x="2143353" y="605134"/>
                  <a:pt x="2149450" y="590503"/>
                  <a:pt x="2157984" y="592941"/>
                </a:cubicBezTo>
                <a:cubicBezTo>
                  <a:pt x="2166518" y="595379"/>
                  <a:pt x="2171395" y="623421"/>
                  <a:pt x="2179929" y="622202"/>
                </a:cubicBezTo>
                <a:cubicBezTo>
                  <a:pt x="2188463" y="620983"/>
                  <a:pt x="2199436" y="588064"/>
                  <a:pt x="2209190" y="585626"/>
                </a:cubicBezTo>
                <a:cubicBezTo>
                  <a:pt x="2218944" y="583188"/>
                  <a:pt x="2231136" y="612449"/>
                  <a:pt x="2238451" y="607572"/>
                </a:cubicBezTo>
                <a:cubicBezTo>
                  <a:pt x="2245766" y="602695"/>
                  <a:pt x="2246985" y="561242"/>
                  <a:pt x="2253081" y="556365"/>
                </a:cubicBezTo>
                <a:cubicBezTo>
                  <a:pt x="2259177" y="551488"/>
                  <a:pt x="2268931" y="579530"/>
                  <a:pt x="2275027" y="578311"/>
                </a:cubicBezTo>
                <a:cubicBezTo>
                  <a:pt x="2281123" y="577092"/>
                  <a:pt x="2284780" y="550269"/>
                  <a:pt x="2289657" y="549050"/>
                </a:cubicBezTo>
                <a:cubicBezTo>
                  <a:pt x="2294534" y="547831"/>
                  <a:pt x="2296973" y="574653"/>
                  <a:pt x="2304288" y="570996"/>
                </a:cubicBezTo>
                <a:cubicBezTo>
                  <a:pt x="2311603" y="567338"/>
                  <a:pt x="2318919" y="527105"/>
                  <a:pt x="2333549" y="527105"/>
                </a:cubicBezTo>
                <a:cubicBezTo>
                  <a:pt x="2348179" y="527105"/>
                  <a:pt x="2378659" y="557585"/>
                  <a:pt x="2392070" y="570996"/>
                </a:cubicBezTo>
                <a:cubicBezTo>
                  <a:pt x="2405481" y="584407"/>
                  <a:pt x="2405482" y="608791"/>
                  <a:pt x="2414016" y="607572"/>
                </a:cubicBezTo>
                <a:cubicBezTo>
                  <a:pt x="2422550" y="606353"/>
                  <a:pt x="2437181" y="568558"/>
                  <a:pt x="2443277" y="563681"/>
                </a:cubicBezTo>
                <a:cubicBezTo>
                  <a:pt x="2449373" y="558804"/>
                  <a:pt x="2443277" y="580749"/>
                  <a:pt x="2450592" y="578311"/>
                </a:cubicBezTo>
                <a:cubicBezTo>
                  <a:pt x="2457907" y="575872"/>
                  <a:pt x="2477415" y="551488"/>
                  <a:pt x="2487168" y="549050"/>
                </a:cubicBezTo>
                <a:cubicBezTo>
                  <a:pt x="2496921" y="546612"/>
                  <a:pt x="2503017" y="563681"/>
                  <a:pt x="2509113" y="563681"/>
                </a:cubicBezTo>
                <a:cubicBezTo>
                  <a:pt x="2515209" y="563681"/>
                  <a:pt x="2520086" y="564900"/>
                  <a:pt x="2523744" y="549050"/>
                </a:cubicBezTo>
                <a:cubicBezTo>
                  <a:pt x="2527402" y="533200"/>
                  <a:pt x="2527402" y="478336"/>
                  <a:pt x="2531059" y="468583"/>
                </a:cubicBezTo>
                <a:cubicBezTo>
                  <a:pt x="2534717" y="458829"/>
                  <a:pt x="2539593" y="492967"/>
                  <a:pt x="2545689" y="490529"/>
                </a:cubicBezTo>
                <a:cubicBezTo>
                  <a:pt x="2551785" y="488091"/>
                  <a:pt x="2561539" y="462488"/>
                  <a:pt x="2567635" y="453953"/>
                </a:cubicBezTo>
                <a:cubicBezTo>
                  <a:pt x="2573731" y="445418"/>
                  <a:pt x="2577388" y="451514"/>
                  <a:pt x="2582265" y="439322"/>
                </a:cubicBezTo>
                <a:cubicBezTo>
                  <a:pt x="2587142" y="427130"/>
                  <a:pt x="2589581" y="378362"/>
                  <a:pt x="2596896" y="380801"/>
                </a:cubicBezTo>
                <a:cubicBezTo>
                  <a:pt x="2604211" y="383239"/>
                  <a:pt x="2616404" y="451515"/>
                  <a:pt x="2626157" y="453953"/>
                </a:cubicBezTo>
                <a:cubicBezTo>
                  <a:pt x="2635910" y="456391"/>
                  <a:pt x="2646883" y="411281"/>
                  <a:pt x="2655417" y="395431"/>
                </a:cubicBezTo>
                <a:cubicBezTo>
                  <a:pt x="2663951" y="379581"/>
                  <a:pt x="2673705" y="379581"/>
                  <a:pt x="2677363" y="358855"/>
                </a:cubicBezTo>
                <a:cubicBezTo>
                  <a:pt x="2681021" y="338129"/>
                  <a:pt x="2676144" y="306430"/>
                  <a:pt x="2677363" y="271073"/>
                </a:cubicBezTo>
                <a:cubicBezTo>
                  <a:pt x="2678582" y="235716"/>
                  <a:pt x="2681020" y="173536"/>
                  <a:pt x="2684678" y="146714"/>
                </a:cubicBezTo>
                <a:cubicBezTo>
                  <a:pt x="2688336" y="119892"/>
                  <a:pt x="2694432" y="134522"/>
                  <a:pt x="2699309" y="110138"/>
                </a:cubicBezTo>
                <a:cubicBezTo>
                  <a:pt x="2704186" y="85754"/>
                  <a:pt x="2706624" y="-6905"/>
                  <a:pt x="2713939" y="410"/>
                </a:cubicBezTo>
                <a:cubicBezTo>
                  <a:pt x="2721254" y="7725"/>
                  <a:pt x="2738323" y="96727"/>
                  <a:pt x="2743200" y="154029"/>
                </a:cubicBezTo>
                <a:cubicBezTo>
                  <a:pt x="2748077" y="211331"/>
                  <a:pt x="2739543" y="317403"/>
                  <a:pt x="2743200" y="344225"/>
                </a:cubicBezTo>
                <a:cubicBezTo>
                  <a:pt x="2746857" y="371047"/>
                  <a:pt x="2756611" y="311307"/>
                  <a:pt x="2765145" y="314964"/>
                </a:cubicBezTo>
                <a:cubicBezTo>
                  <a:pt x="2773679" y="318621"/>
                  <a:pt x="2784652" y="371047"/>
                  <a:pt x="2794406" y="366170"/>
                </a:cubicBezTo>
                <a:cubicBezTo>
                  <a:pt x="2804160" y="361293"/>
                  <a:pt x="2813913" y="283265"/>
                  <a:pt x="2823667" y="285703"/>
                </a:cubicBezTo>
                <a:cubicBezTo>
                  <a:pt x="2833421" y="288141"/>
                  <a:pt x="2844394" y="363732"/>
                  <a:pt x="2852928" y="380801"/>
                </a:cubicBezTo>
                <a:cubicBezTo>
                  <a:pt x="2861462" y="397870"/>
                  <a:pt x="2868777" y="388116"/>
                  <a:pt x="2874873" y="388116"/>
                </a:cubicBezTo>
                <a:cubicBezTo>
                  <a:pt x="2880969" y="388116"/>
                  <a:pt x="2885846" y="367390"/>
                  <a:pt x="2889504" y="380801"/>
                </a:cubicBezTo>
                <a:cubicBezTo>
                  <a:pt x="2893162" y="394212"/>
                  <a:pt x="2885846" y="436884"/>
                  <a:pt x="2896819" y="468583"/>
                </a:cubicBezTo>
                <a:cubicBezTo>
                  <a:pt x="2907792" y="500282"/>
                  <a:pt x="2944368" y="547831"/>
                  <a:pt x="2955341" y="570996"/>
                </a:cubicBezTo>
                <a:cubicBezTo>
                  <a:pt x="2966314" y="594161"/>
                  <a:pt x="2954122" y="605134"/>
                  <a:pt x="2962656" y="607572"/>
                </a:cubicBezTo>
                <a:cubicBezTo>
                  <a:pt x="2971190" y="610010"/>
                  <a:pt x="2995574" y="581969"/>
                  <a:pt x="3006547" y="585626"/>
                </a:cubicBezTo>
                <a:cubicBezTo>
                  <a:pt x="3017520" y="589283"/>
                  <a:pt x="3021178" y="625859"/>
                  <a:pt x="3028493" y="629517"/>
                </a:cubicBezTo>
                <a:cubicBezTo>
                  <a:pt x="3035808" y="633175"/>
                  <a:pt x="3040685" y="603914"/>
                  <a:pt x="3050438" y="607572"/>
                </a:cubicBezTo>
                <a:cubicBezTo>
                  <a:pt x="3060191" y="611230"/>
                  <a:pt x="3074822" y="651463"/>
                  <a:pt x="3087014" y="651463"/>
                </a:cubicBezTo>
                <a:cubicBezTo>
                  <a:pt x="3099206" y="651463"/>
                  <a:pt x="3108960" y="611230"/>
                  <a:pt x="3123590" y="607572"/>
                </a:cubicBezTo>
                <a:cubicBezTo>
                  <a:pt x="3138220" y="603914"/>
                  <a:pt x="3162605" y="623421"/>
                  <a:pt x="3174797" y="629517"/>
                </a:cubicBezTo>
                <a:cubicBezTo>
                  <a:pt x="3186989" y="635613"/>
                  <a:pt x="3183331" y="642929"/>
                  <a:pt x="3196742" y="644148"/>
                </a:cubicBezTo>
                <a:cubicBezTo>
                  <a:pt x="3210153" y="645367"/>
                  <a:pt x="3238195" y="642929"/>
                  <a:pt x="3255264" y="636833"/>
                </a:cubicBezTo>
                <a:cubicBezTo>
                  <a:pt x="3272333" y="630737"/>
                  <a:pt x="3282086" y="612449"/>
                  <a:pt x="3299155" y="607572"/>
                </a:cubicBezTo>
                <a:cubicBezTo>
                  <a:pt x="3316224" y="602695"/>
                  <a:pt x="3357677" y="607572"/>
                  <a:pt x="3357677" y="607572"/>
                </a:cubicBezTo>
                <a:lnTo>
                  <a:pt x="3386937" y="607572"/>
                </a:lnTo>
              </a:path>
            </a:pathLst>
          </a:custGeom>
          <a:ln w="19050">
            <a:solidFill>
              <a:srgbClr val="F6AE1E"/>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2813" fontAlgn="base">
              <a:spcBef>
                <a:spcPct val="0"/>
              </a:spcBef>
              <a:spcAft>
                <a:spcPct val="0"/>
              </a:spcAft>
            </a:pPr>
            <a:endParaRPr lang="en-US">
              <a:solidFill>
                <a:srgbClr val="292929"/>
              </a:solidFill>
            </a:endParaRPr>
          </a:p>
        </p:txBody>
      </p:sp>
      <p:sp>
        <p:nvSpPr>
          <p:cNvPr id="15" name="Freeform 14"/>
          <p:cNvSpPr/>
          <p:nvPr/>
        </p:nvSpPr>
        <p:spPr>
          <a:xfrm>
            <a:off x="1653533" y="4967285"/>
            <a:ext cx="4037644" cy="292974"/>
          </a:xfrm>
          <a:custGeom>
            <a:avLst/>
            <a:gdLst>
              <a:gd name="connsiteX0" fmla="*/ 0 w 3379622"/>
              <a:gd name="connsiteY0" fmla="*/ 292974 h 292974"/>
              <a:gd name="connsiteX1" fmla="*/ 51206 w 3379622"/>
              <a:gd name="connsiteY1" fmla="*/ 271029 h 292974"/>
              <a:gd name="connsiteX2" fmla="*/ 87782 w 3379622"/>
              <a:gd name="connsiteY2" fmla="*/ 227138 h 292974"/>
              <a:gd name="connsiteX3" fmla="*/ 117043 w 3379622"/>
              <a:gd name="connsiteY3" fmla="*/ 205192 h 292974"/>
              <a:gd name="connsiteX4" fmla="*/ 138989 w 3379622"/>
              <a:gd name="connsiteY4" fmla="*/ 263714 h 292974"/>
              <a:gd name="connsiteX5" fmla="*/ 190195 w 3379622"/>
              <a:gd name="connsiteY5" fmla="*/ 219822 h 292974"/>
              <a:gd name="connsiteX6" fmla="*/ 226771 w 3379622"/>
              <a:gd name="connsiteY6" fmla="*/ 249083 h 292974"/>
              <a:gd name="connsiteX7" fmla="*/ 270662 w 3379622"/>
              <a:gd name="connsiteY7" fmla="*/ 205192 h 292974"/>
              <a:gd name="connsiteX8" fmla="*/ 307238 w 3379622"/>
              <a:gd name="connsiteY8" fmla="*/ 234453 h 292974"/>
              <a:gd name="connsiteX9" fmla="*/ 329184 w 3379622"/>
              <a:gd name="connsiteY9" fmla="*/ 271029 h 292974"/>
              <a:gd name="connsiteX10" fmla="*/ 365760 w 3379622"/>
              <a:gd name="connsiteY10" fmla="*/ 241768 h 292974"/>
              <a:gd name="connsiteX11" fmla="*/ 395021 w 3379622"/>
              <a:gd name="connsiteY11" fmla="*/ 241768 h 292974"/>
              <a:gd name="connsiteX12" fmla="*/ 453542 w 3379622"/>
              <a:gd name="connsiteY12" fmla="*/ 285659 h 292974"/>
              <a:gd name="connsiteX13" fmla="*/ 526694 w 3379622"/>
              <a:gd name="connsiteY13" fmla="*/ 249083 h 292974"/>
              <a:gd name="connsiteX14" fmla="*/ 563270 w 3379622"/>
              <a:gd name="connsiteY14" fmla="*/ 263714 h 292974"/>
              <a:gd name="connsiteX15" fmla="*/ 577901 w 3379622"/>
              <a:gd name="connsiteY15" fmla="*/ 234453 h 292974"/>
              <a:gd name="connsiteX16" fmla="*/ 614477 w 3379622"/>
              <a:gd name="connsiteY16" fmla="*/ 278344 h 292974"/>
              <a:gd name="connsiteX17" fmla="*/ 636422 w 3379622"/>
              <a:gd name="connsiteY17" fmla="*/ 241768 h 292974"/>
              <a:gd name="connsiteX18" fmla="*/ 687629 w 3379622"/>
              <a:gd name="connsiteY18" fmla="*/ 271029 h 292974"/>
              <a:gd name="connsiteX19" fmla="*/ 724205 w 3379622"/>
              <a:gd name="connsiteY19" fmla="*/ 249083 h 292974"/>
              <a:gd name="connsiteX20" fmla="*/ 760781 w 3379622"/>
              <a:gd name="connsiteY20" fmla="*/ 271029 h 292974"/>
              <a:gd name="connsiteX21" fmla="*/ 811987 w 3379622"/>
              <a:gd name="connsiteY21" fmla="*/ 241768 h 292974"/>
              <a:gd name="connsiteX22" fmla="*/ 848563 w 3379622"/>
              <a:gd name="connsiteY22" fmla="*/ 271029 h 292974"/>
              <a:gd name="connsiteX23" fmla="*/ 870509 w 3379622"/>
              <a:gd name="connsiteY23" fmla="*/ 249083 h 292974"/>
              <a:gd name="connsiteX24" fmla="*/ 899770 w 3379622"/>
              <a:gd name="connsiteY24" fmla="*/ 241768 h 292974"/>
              <a:gd name="connsiteX25" fmla="*/ 958291 w 3379622"/>
              <a:gd name="connsiteY25" fmla="*/ 256398 h 292974"/>
              <a:gd name="connsiteX26" fmla="*/ 980237 w 3379622"/>
              <a:gd name="connsiteY26" fmla="*/ 227138 h 292974"/>
              <a:gd name="connsiteX27" fmla="*/ 1053389 w 3379622"/>
              <a:gd name="connsiteY27" fmla="*/ 263714 h 292974"/>
              <a:gd name="connsiteX28" fmla="*/ 1119226 w 3379622"/>
              <a:gd name="connsiteY28" fmla="*/ 256398 h 292974"/>
              <a:gd name="connsiteX29" fmla="*/ 1155802 w 3379622"/>
              <a:gd name="connsiteY29" fmla="*/ 234453 h 292974"/>
              <a:gd name="connsiteX30" fmla="*/ 1221638 w 3379622"/>
              <a:gd name="connsiteY30" fmla="*/ 234453 h 292974"/>
              <a:gd name="connsiteX31" fmla="*/ 1324051 w 3379622"/>
              <a:gd name="connsiteY31" fmla="*/ 285659 h 292974"/>
              <a:gd name="connsiteX32" fmla="*/ 1367942 w 3379622"/>
              <a:gd name="connsiteY32" fmla="*/ 241768 h 292974"/>
              <a:gd name="connsiteX33" fmla="*/ 1397203 w 3379622"/>
              <a:gd name="connsiteY33" fmla="*/ 271029 h 292974"/>
              <a:gd name="connsiteX34" fmla="*/ 1448410 w 3379622"/>
              <a:gd name="connsiteY34" fmla="*/ 212507 h 292974"/>
              <a:gd name="connsiteX35" fmla="*/ 1528877 w 3379622"/>
              <a:gd name="connsiteY35" fmla="*/ 241768 h 292974"/>
              <a:gd name="connsiteX36" fmla="*/ 1558138 w 3379622"/>
              <a:gd name="connsiteY36" fmla="*/ 271029 h 292974"/>
              <a:gd name="connsiteX37" fmla="*/ 1602029 w 3379622"/>
              <a:gd name="connsiteY37" fmla="*/ 212507 h 292974"/>
              <a:gd name="connsiteX38" fmla="*/ 1631290 w 3379622"/>
              <a:gd name="connsiteY38" fmla="*/ 219822 h 292974"/>
              <a:gd name="connsiteX39" fmla="*/ 1682496 w 3379622"/>
              <a:gd name="connsiteY39" fmla="*/ 219822 h 292974"/>
              <a:gd name="connsiteX40" fmla="*/ 1711757 w 3379622"/>
              <a:gd name="connsiteY40" fmla="*/ 256398 h 292974"/>
              <a:gd name="connsiteX41" fmla="*/ 1741018 w 3379622"/>
              <a:gd name="connsiteY41" fmla="*/ 212507 h 292974"/>
              <a:gd name="connsiteX42" fmla="*/ 1799539 w 3379622"/>
              <a:gd name="connsiteY42" fmla="*/ 256398 h 292974"/>
              <a:gd name="connsiteX43" fmla="*/ 1843430 w 3379622"/>
              <a:gd name="connsiteY43" fmla="*/ 227138 h 292974"/>
              <a:gd name="connsiteX44" fmla="*/ 1872691 w 3379622"/>
              <a:gd name="connsiteY44" fmla="*/ 234453 h 292974"/>
              <a:gd name="connsiteX45" fmla="*/ 1938528 w 3379622"/>
              <a:gd name="connsiteY45" fmla="*/ 197877 h 292974"/>
              <a:gd name="connsiteX46" fmla="*/ 1982419 w 3379622"/>
              <a:gd name="connsiteY46" fmla="*/ 241768 h 292974"/>
              <a:gd name="connsiteX47" fmla="*/ 2033626 w 3379622"/>
              <a:gd name="connsiteY47" fmla="*/ 212507 h 292974"/>
              <a:gd name="connsiteX48" fmla="*/ 2055571 w 3379622"/>
              <a:gd name="connsiteY48" fmla="*/ 263714 h 292974"/>
              <a:gd name="connsiteX49" fmla="*/ 2092147 w 3379622"/>
              <a:gd name="connsiteY49" fmla="*/ 256398 h 292974"/>
              <a:gd name="connsiteX50" fmla="*/ 2150669 w 3379622"/>
              <a:gd name="connsiteY50" fmla="*/ 271029 h 292974"/>
              <a:gd name="connsiteX51" fmla="*/ 2194560 w 3379622"/>
              <a:gd name="connsiteY51" fmla="*/ 227138 h 292974"/>
              <a:gd name="connsiteX52" fmla="*/ 2223821 w 3379622"/>
              <a:gd name="connsiteY52" fmla="*/ 271029 h 292974"/>
              <a:gd name="connsiteX53" fmla="*/ 2245766 w 3379622"/>
              <a:gd name="connsiteY53" fmla="*/ 249083 h 292974"/>
              <a:gd name="connsiteX54" fmla="*/ 2326234 w 3379622"/>
              <a:gd name="connsiteY54" fmla="*/ 249083 h 292974"/>
              <a:gd name="connsiteX55" fmla="*/ 2362810 w 3379622"/>
              <a:gd name="connsiteY55" fmla="*/ 271029 h 292974"/>
              <a:gd name="connsiteX56" fmla="*/ 2406701 w 3379622"/>
              <a:gd name="connsiteY56" fmla="*/ 183246 h 292974"/>
              <a:gd name="connsiteX57" fmla="*/ 2450592 w 3379622"/>
              <a:gd name="connsiteY57" fmla="*/ 263714 h 292974"/>
              <a:gd name="connsiteX58" fmla="*/ 2494483 w 3379622"/>
              <a:gd name="connsiteY58" fmla="*/ 234453 h 292974"/>
              <a:gd name="connsiteX59" fmla="*/ 2523744 w 3379622"/>
              <a:gd name="connsiteY59" fmla="*/ 241768 h 292974"/>
              <a:gd name="connsiteX60" fmla="*/ 2567635 w 3379622"/>
              <a:gd name="connsiteY60" fmla="*/ 205192 h 292974"/>
              <a:gd name="connsiteX61" fmla="*/ 2604211 w 3379622"/>
              <a:gd name="connsiteY61" fmla="*/ 205192 h 292974"/>
              <a:gd name="connsiteX62" fmla="*/ 2640787 w 3379622"/>
              <a:gd name="connsiteY62" fmla="*/ 175931 h 292974"/>
              <a:gd name="connsiteX63" fmla="*/ 2670048 w 3379622"/>
              <a:gd name="connsiteY63" fmla="*/ 197877 h 292974"/>
              <a:gd name="connsiteX64" fmla="*/ 2706624 w 3379622"/>
              <a:gd name="connsiteY64" fmla="*/ 117410 h 292974"/>
              <a:gd name="connsiteX65" fmla="*/ 2757830 w 3379622"/>
              <a:gd name="connsiteY65" fmla="*/ 175931 h 292974"/>
              <a:gd name="connsiteX66" fmla="*/ 2801722 w 3379622"/>
              <a:gd name="connsiteY66" fmla="*/ 146670 h 292974"/>
              <a:gd name="connsiteX67" fmla="*/ 2823667 w 3379622"/>
              <a:gd name="connsiteY67" fmla="*/ 117410 h 292974"/>
              <a:gd name="connsiteX68" fmla="*/ 2830982 w 3379622"/>
              <a:gd name="connsiteY68" fmla="*/ 132040 h 292974"/>
              <a:gd name="connsiteX69" fmla="*/ 2860243 w 3379622"/>
              <a:gd name="connsiteY69" fmla="*/ 66203 h 292974"/>
              <a:gd name="connsiteX70" fmla="*/ 2882189 w 3379622"/>
              <a:gd name="connsiteY70" fmla="*/ 132040 h 292974"/>
              <a:gd name="connsiteX71" fmla="*/ 2904134 w 3379622"/>
              <a:gd name="connsiteY71" fmla="*/ 66203 h 292974"/>
              <a:gd name="connsiteX72" fmla="*/ 2933395 w 3379622"/>
              <a:gd name="connsiteY72" fmla="*/ 366 h 292974"/>
              <a:gd name="connsiteX73" fmla="*/ 2955341 w 3379622"/>
              <a:gd name="connsiteY73" fmla="*/ 44258 h 292974"/>
              <a:gd name="connsiteX74" fmla="*/ 2962656 w 3379622"/>
              <a:gd name="connsiteY74" fmla="*/ 139355 h 292974"/>
              <a:gd name="connsiteX75" fmla="*/ 2984602 w 3379622"/>
              <a:gd name="connsiteY75" fmla="*/ 146670 h 292974"/>
              <a:gd name="connsiteX76" fmla="*/ 2991917 w 3379622"/>
              <a:gd name="connsiteY76" fmla="*/ 190562 h 292974"/>
              <a:gd name="connsiteX77" fmla="*/ 3050438 w 3379622"/>
              <a:gd name="connsiteY77" fmla="*/ 197877 h 292974"/>
              <a:gd name="connsiteX78" fmla="*/ 3116275 w 3379622"/>
              <a:gd name="connsiteY78" fmla="*/ 197877 h 292974"/>
              <a:gd name="connsiteX79" fmla="*/ 3130906 w 3379622"/>
              <a:gd name="connsiteY79" fmla="*/ 175931 h 292974"/>
              <a:gd name="connsiteX80" fmla="*/ 3167482 w 3379622"/>
              <a:gd name="connsiteY80" fmla="*/ 234453 h 292974"/>
              <a:gd name="connsiteX81" fmla="*/ 3196742 w 3379622"/>
              <a:gd name="connsiteY81" fmla="*/ 205192 h 292974"/>
              <a:gd name="connsiteX82" fmla="*/ 3218688 w 3379622"/>
              <a:gd name="connsiteY82" fmla="*/ 205192 h 292974"/>
              <a:gd name="connsiteX83" fmla="*/ 3233318 w 3379622"/>
              <a:gd name="connsiteY83" fmla="*/ 249083 h 292974"/>
              <a:gd name="connsiteX84" fmla="*/ 3277210 w 3379622"/>
              <a:gd name="connsiteY84" fmla="*/ 227138 h 292974"/>
              <a:gd name="connsiteX85" fmla="*/ 3335731 w 3379622"/>
              <a:gd name="connsiteY85" fmla="*/ 219822 h 292974"/>
              <a:gd name="connsiteX86" fmla="*/ 3379622 w 3379622"/>
              <a:gd name="connsiteY86" fmla="*/ 219822 h 292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379622" h="292974">
                <a:moveTo>
                  <a:pt x="0" y="292974"/>
                </a:moveTo>
                <a:cubicBezTo>
                  <a:pt x="18288" y="287488"/>
                  <a:pt x="36576" y="282002"/>
                  <a:pt x="51206" y="271029"/>
                </a:cubicBezTo>
                <a:cubicBezTo>
                  <a:pt x="65836" y="260056"/>
                  <a:pt x="76809" y="238111"/>
                  <a:pt x="87782" y="227138"/>
                </a:cubicBezTo>
                <a:cubicBezTo>
                  <a:pt x="98755" y="216165"/>
                  <a:pt x="108508" y="199096"/>
                  <a:pt x="117043" y="205192"/>
                </a:cubicBezTo>
                <a:cubicBezTo>
                  <a:pt x="125578" y="211288"/>
                  <a:pt x="126797" y="261276"/>
                  <a:pt x="138989" y="263714"/>
                </a:cubicBezTo>
                <a:cubicBezTo>
                  <a:pt x="151181" y="266152"/>
                  <a:pt x="175565" y="222260"/>
                  <a:pt x="190195" y="219822"/>
                </a:cubicBezTo>
                <a:cubicBezTo>
                  <a:pt x="204825" y="217384"/>
                  <a:pt x="213360" y="251521"/>
                  <a:pt x="226771" y="249083"/>
                </a:cubicBezTo>
                <a:cubicBezTo>
                  <a:pt x="240182" y="246645"/>
                  <a:pt x="257251" y="207630"/>
                  <a:pt x="270662" y="205192"/>
                </a:cubicBezTo>
                <a:cubicBezTo>
                  <a:pt x="284073" y="202754"/>
                  <a:pt x="297484" y="223480"/>
                  <a:pt x="307238" y="234453"/>
                </a:cubicBezTo>
                <a:cubicBezTo>
                  <a:pt x="316992" y="245426"/>
                  <a:pt x="319430" y="269810"/>
                  <a:pt x="329184" y="271029"/>
                </a:cubicBezTo>
                <a:cubicBezTo>
                  <a:pt x="338938" y="272248"/>
                  <a:pt x="354787" y="246645"/>
                  <a:pt x="365760" y="241768"/>
                </a:cubicBezTo>
                <a:cubicBezTo>
                  <a:pt x="376733" y="236891"/>
                  <a:pt x="380391" y="234453"/>
                  <a:pt x="395021" y="241768"/>
                </a:cubicBezTo>
                <a:cubicBezTo>
                  <a:pt x="409651" y="249083"/>
                  <a:pt x="431597" y="284440"/>
                  <a:pt x="453542" y="285659"/>
                </a:cubicBezTo>
                <a:cubicBezTo>
                  <a:pt x="475487" y="286878"/>
                  <a:pt x="508406" y="252740"/>
                  <a:pt x="526694" y="249083"/>
                </a:cubicBezTo>
                <a:cubicBezTo>
                  <a:pt x="544982" y="245426"/>
                  <a:pt x="554736" y="266152"/>
                  <a:pt x="563270" y="263714"/>
                </a:cubicBezTo>
                <a:cubicBezTo>
                  <a:pt x="571805" y="261276"/>
                  <a:pt x="569367" y="232015"/>
                  <a:pt x="577901" y="234453"/>
                </a:cubicBezTo>
                <a:cubicBezTo>
                  <a:pt x="586436" y="236891"/>
                  <a:pt x="604724" y="277125"/>
                  <a:pt x="614477" y="278344"/>
                </a:cubicBezTo>
                <a:cubicBezTo>
                  <a:pt x="624230" y="279563"/>
                  <a:pt x="624230" y="242987"/>
                  <a:pt x="636422" y="241768"/>
                </a:cubicBezTo>
                <a:cubicBezTo>
                  <a:pt x="648614" y="240549"/>
                  <a:pt x="672999" y="269810"/>
                  <a:pt x="687629" y="271029"/>
                </a:cubicBezTo>
                <a:cubicBezTo>
                  <a:pt x="702259" y="272248"/>
                  <a:pt x="712013" y="249083"/>
                  <a:pt x="724205" y="249083"/>
                </a:cubicBezTo>
                <a:cubicBezTo>
                  <a:pt x="736397" y="249083"/>
                  <a:pt x="746151" y="272248"/>
                  <a:pt x="760781" y="271029"/>
                </a:cubicBezTo>
                <a:cubicBezTo>
                  <a:pt x="775411" y="269810"/>
                  <a:pt x="797357" y="241768"/>
                  <a:pt x="811987" y="241768"/>
                </a:cubicBezTo>
                <a:cubicBezTo>
                  <a:pt x="826617" y="241768"/>
                  <a:pt x="838809" y="269810"/>
                  <a:pt x="848563" y="271029"/>
                </a:cubicBezTo>
                <a:cubicBezTo>
                  <a:pt x="858317" y="272248"/>
                  <a:pt x="861975" y="253960"/>
                  <a:pt x="870509" y="249083"/>
                </a:cubicBezTo>
                <a:cubicBezTo>
                  <a:pt x="879043" y="244206"/>
                  <a:pt x="885140" y="240549"/>
                  <a:pt x="899770" y="241768"/>
                </a:cubicBezTo>
                <a:cubicBezTo>
                  <a:pt x="914400" y="242987"/>
                  <a:pt x="944880" y="258836"/>
                  <a:pt x="958291" y="256398"/>
                </a:cubicBezTo>
                <a:cubicBezTo>
                  <a:pt x="971702" y="253960"/>
                  <a:pt x="964387" y="225919"/>
                  <a:pt x="980237" y="227138"/>
                </a:cubicBezTo>
                <a:cubicBezTo>
                  <a:pt x="996087" y="228357"/>
                  <a:pt x="1030224" y="258837"/>
                  <a:pt x="1053389" y="263714"/>
                </a:cubicBezTo>
                <a:cubicBezTo>
                  <a:pt x="1076554" y="268591"/>
                  <a:pt x="1102157" y="261275"/>
                  <a:pt x="1119226" y="256398"/>
                </a:cubicBezTo>
                <a:cubicBezTo>
                  <a:pt x="1136295" y="251521"/>
                  <a:pt x="1138733" y="238110"/>
                  <a:pt x="1155802" y="234453"/>
                </a:cubicBezTo>
                <a:cubicBezTo>
                  <a:pt x="1172871" y="230796"/>
                  <a:pt x="1193597" y="225919"/>
                  <a:pt x="1221638" y="234453"/>
                </a:cubicBezTo>
                <a:cubicBezTo>
                  <a:pt x="1249679" y="242987"/>
                  <a:pt x="1299667" y="284440"/>
                  <a:pt x="1324051" y="285659"/>
                </a:cubicBezTo>
                <a:cubicBezTo>
                  <a:pt x="1348435" y="286878"/>
                  <a:pt x="1355750" y="244206"/>
                  <a:pt x="1367942" y="241768"/>
                </a:cubicBezTo>
                <a:cubicBezTo>
                  <a:pt x="1380134" y="239330"/>
                  <a:pt x="1383792" y="275906"/>
                  <a:pt x="1397203" y="271029"/>
                </a:cubicBezTo>
                <a:cubicBezTo>
                  <a:pt x="1410614" y="266152"/>
                  <a:pt x="1426464" y="217384"/>
                  <a:pt x="1448410" y="212507"/>
                </a:cubicBezTo>
                <a:cubicBezTo>
                  <a:pt x="1470356" y="207630"/>
                  <a:pt x="1510589" y="232014"/>
                  <a:pt x="1528877" y="241768"/>
                </a:cubicBezTo>
                <a:cubicBezTo>
                  <a:pt x="1547165" y="251522"/>
                  <a:pt x="1545946" y="275906"/>
                  <a:pt x="1558138" y="271029"/>
                </a:cubicBezTo>
                <a:cubicBezTo>
                  <a:pt x="1570330" y="266152"/>
                  <a:pt x="1589837" y="221041"/>
                  <a:pt x="1602029" y="212507"/>
                </a:cubicBezTo>
                <a:cubicBezTo>
                  <a:pt x="1614221" y="203973"/>
                  <a:pt x="1617879" y="218603"/>
                  <a:pt x="1631290" y="219822"/>
                </a:cubicBezTo>
                <a:cubicBezTo>
                  <a:pt x="1644701" y="221041"/>
                  <a:pt x="1669085" y="213726"/>
                  <a:pt x="1682496" y="219822"/>
                </a:cubicBezTo>
                <a:cubicBezTo>
                  <a:pt x="1695907" y="225918"/>
                  <a:pt x="1702003" y="257617"/>
                  <a:pt x="1711757" y="256398"/>
                </a:cubicBezTo>
                <a:cubicBezTo>
                  <a:pt x="1721511" y="255179"/>
                  <a:pt x="1726388" y="212507"/>
                  <a:pt x="1741018" y="212507"/>
                </a:cubicBezTo>
                <a:cubicBezTo>
                  <a:pt x="1755648" y="212507"/>
                  <a:pt x="1782470" y="253960"/>
                  <a:pt x="1799539" y="256398"/>
                </a:cubicBezTo>
                <a:cubicBezTo>
                  <a:pt x="1816608" y="258836"/>
                  <a:pt x="1831238" y="230795"/>
                  <a:pt x="1843430" y="227138"/>
                </a:cubicBezTo>
                <a:cubicBezTo>
                  <a:pt x="1855622" y="223481"/>
                  <a:pt x="1856841" y="239330"/>
                  <a:pt x="1872691" y="234453"/>
                </a:cubicBezTo>
                <a:cubicBezTo>
                  <a:pt x="1888541" y="229576"/>
                  <a:pt x="1920240" y="196658"/>
                  <a:pt x="1938528" y="197877"/>
                </a:cubicBezTo>
                <a:cubicBezTo>
                  <a:pt x="1956816" y="199096"/>
                  <a:pt x="1966569" y="239330"/>
                  <a:pt x="1982419" y="241768"/>
                </a:cubicBezTo>
                <a:cubicBezTo>
                  <a:pt x="1998269" y="244206"/>
                  <a:pt x="2021434" y="208849"/>
                  <a:pt x="2033626" y="212507"/>
                </a:cubicBezTo>
                <a:cubicBezTo>
                  <a:pt x="2045818" y="216165"/>
                  <a:pt x="2045818" y="256399"/>
                  <a:pt x="2055571" y="263714"/>
                </a:cubicBezTo>
                <a:cubicBezTo>
                  <a:pt x="2065324" y="271029"/>
                  <a:pt x="2076297" y="255179"/>
                  <a:pt x="2092147" y="256398"/>
                </a:cubicBezTo>
                <a:cubicBezTo>
                  <a:pt x="2107997" y="257617"/>
                  <a:pt x="2133600" y="275906"/>
                  <a:pt x="2150669" y="271029"/>
                </a:cubicBezTo>
                <a:cubicBezTo>
                  <a:pt x="2167738" y="266152"/>
                  <a:pt x="2182368" y="227138"/>
                  <a:pt x="2194560" y="227138"/>
                </a:cubicBezTo>
                <a:cubicBezTo>
                  <a:pt x="2206752" y="227138"/>
                  <a:pt x="2215287" y="267372"/>
                  <a:pt x="2223821" y="271029"/>
                </a:cubicBezTo>
                <a:cubicBezTo>
                  <a:pt x="2232355" y="274686"/>
                  <a:pt x="2228697" y="252741"/>
                  <a:pt x="2245766" y="249083"/>
                </a:cubicBezTo>
                <a:cubicBezTo>
                  <a:pt x="2262835" y="245425"/>
                  <a:pt x="2306727" y="245425"/>
                  <a:pt x="2326234" y="249083"/>
                </a:cubicBezTo>
                <a:cubicBezTo>
                  <a:pt x="2345741" y="252741"/>
                  <a:pt x="2349399" y="282002"/>
                  <a:pt x="2362810" y="271029"/>
                </a:cubicBezTo>
                <a:cubicBezTo>
                  <a:pt x="2376221" y="260056"/>
                  <a:pt x="2392071" y="184465"/>
                  <a:pt x="2406701" y="183246"/>
                </a:cubicBezTo>
                <a:cubicBezTo>
                  <a:pt x="2421331" y="182027"/>
                  <a:pt x="2435962" y="255180"/>
                  <a:pt x="2450592" y="263714"/>
                </a:cubicBezTo>
                <a:cubicBezTo>
                  <a:pt x="2465222" y="272248"/>
                  <a:pt x="2482291" y="238111"/>
                  <a:pt x="2494483" y="234453"/>
                </a:cubicBezTo>
                <a:cubicBezTo>
                  <a:pt x="2506675" y="230795"/>
                  <a:pt x="2511552" y="246645"/>
                  <a:pt x="2523744" y="241768"/>
                </a:cubicBezTo>
                <a:cubicBezTo>
                  <a:pt x="2535936" y="236891"/>
                  <a:pt x="2554224" y="211288"/>
                  <a:pt x="2567635" y="205192"/>
                </a:cubicBezTo>
                <a:cubicBezTo>
                  <a:pt x="2581046" y="199096"/>
                  <a:pt x="2592019" y="210069"/>
                  <a:pt x="2604211" y="205192"/>
                </a:cubicBezTo>
                <a:cubicBezTo>
                  <a:pt x="2616403" y="200315"/>
                  <a:pt x="2629814" y="177150"/>
                  <a:pt x="2640787" y="175931"/>
                </a:cubicBezTo>
                <a:cubicBezTo>
                  <a:pt x="2651760" y="174712"/>
                  <a:pt x="2659075" y="207630"/>
                  <a:pt x="2670048" y="197877"/>
                </a:cubicBezTo>
                <a:cubicBezTo>
                  <a:pt x="2681021" y="188123"/>
                  <a:pt x="2691994" y="121068"/>
                  <a:pt x="2706624" y="117410"/>
                </a:cubicBezTo>
                <a:cubicBezTo>
                  <a:pt x="2721254" y="113752"/>
                  <a:pt x="2741980" y="171054"/>
                  <a:pt x="2757830" y="175931"/>
                </a:cubicBezTo>
                <a:cubicBezTo>
                  <a:pt x="2773680" y="180808"/>
                  <a:pt x="2790749" y="156423"/>
                  <a:pt x="2801722" y="146670"/>
                </a:cubicBezTo>
                <a:cubicBezTo>
                  <a:pt x="2812695" y="136916"/>
                  <a:pt x="2818790" y="119848"/>
                  <a:pt x="2823667" y="117410"/>
                </a:cubicBezTo>
                <a:cubicBezTo>
                  <a:pt x="2828544" y="114972"/>
                  <a:pt x="2824886" y="140575"/>
                  <a:pt x="2830982" y="132040"/>
                </a:cubicBezTo>
                <a:cubicBezTo>
                  <a:pt x="2837078" y="123505"/>
                  <a:pt x="2851709" y="66203"/>
                  <a:pt x="2860243" y="66203"/>
                </a:cubicBezTo>
                <a:cubicBezTo>
                  <a:pt x="2868777" y="66203"/>
                  <a:pt x="2874874" y="132040"/>
                  <a:pt x="2882189" y="132040"/>
                </a:cubicBezTo>
                <a:cubicBezTo>
                  <a:pt x="2889504" y="132040"/>
                  <a:pt x="2895600" y="88149"/>
                  <a:pt x="2904134" y="66203"/>
                </a:cubicBezTo>
                <a:cubicBezTo>
                  <a:pt x="2912668" y="44257"/>
                  <a:pt x="2924861" y="4023"/>
                  <a:pt x="2933395" y="366"/>
                </a:cubicBezTo>
                <a:cubicBezTo>
                  <a:pt x="2941930" y="-3292"/>
                  <a:pt x="2950464" y="21093"/>
                  <a:pt x="2955341" y="44258"/>
                </a:cubicBezTo>
                <a:cubicBezTo>
                  <a:pt x="2960218" y="67423"/>
                  <a:pt x="2957779" y="122286"/>
                  <a:pt x="2962656" y="139355"/>
                </a:cubicBezTo>
                <a:cubicBezTo>
                  <a:pt x="2967533" y="156424"/>
                  <a:pt x="2979725" y="138136"/>
                  <a:pt x="2984602" y="146670"/>
                </a:cubicBezTo>
                <a:cubicBezTo>
                  <a:pt x="2989479" y="155204"/>
                  <a:pt x="2980944" y="182028"/>
                  <a:pt x="2991917" y="190562"/>
                </a:cubicBezTo>
                <a:cubicBezTo>
                  <a:pt x="3002890" y="199096"/>
                  <a:pt x="3029712" y="196658"/>
                  <a:pt x="3050438" y="197877"/>
                </a:cubicBezTo>
                <a:cubicBezTo>
                  <a:pt x="3071164" y="199096"/>
                  <a:pt x="3102864" y="201535"/>
                  <a:pt x="3116275" y="197877"/>
                </a:cubicBezTo>
                <a:cubicBezTo>
                  <a:pt x="3129686" y="194219"/>
                  <a:pt x="3122371" y="169835"/>
                  <a:pt x="3130906" y="175931"/>
                </a:cubicBezTo>
                <a:cubicBezTo>
                  <a:pt x="3139441" y="182027"/>
                  <a:pt x="3156509" y="229576"/>
                  <a:pt x="3167482" y="234453"/>
                </a:cubicBezTo>
                <a:cubicBezTo>
                  <a:pt x="3178455" y="239330"/>
                  <a:pt x="3188208" y="210069"/>
                  <a:pt x="3196742" y="205192"/>
                </a:cubicBezTo>
                <a:cubicBezTo>
                  <a:pt x="3205276" y="200315"/>
                  <a:pt x="3212592" y="197877"/>
                  <a:pt x="3218688" y="205192"/>
                </a:cubicBezTo>
                <a:cubicBezTo>
                  <a:pt x="3224784" y="212507"/>
                  <a:pt x="3223565" y="245425"/>
                  <a:pt x="3233318" y="249083"/>
                </a:cubicBezTo>
                <a:cubicBezTo>
                  <a:pt x="3243071" y="252741"/>
                  <a:pt x="3260141" y="232015"/>
                  <a:pt x="3277210" y="227138"/>
                </a:cubicBezTo>
                <a:cubicBezTo>
                  <a:pt x="3294279" y="222261"/>
                  <a:pt x="3318662" y="221041"/>
                  <a:pt x="3335731" y="219822"/>
                </a:cubicBezTo>
                <a:cubicBezTo>
                  <a:pt x="3352800" y="218603"/>
                  <a:pt x="3379622" y="219822"/>
                  <a:pt x="3379622" y="219822"/>
                </a:cubicBezTo>
              </a:path>
            </a:pathLst>
          </a:custGeom>
          <a:ln w="19050">
            <a:solidFill>
              <a:srgbClr val="00B050"/>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2813" fontAlgn="base">
              <a:spcBef>
                <a:spcPct val="0"/>
              </a:spcBef>
              <a:spcAft>
                <a:spcPct val="0"/>
              </a:spcAft>
            </a:pPr>
            <a:endParaRPr lang="en-US">
              <a:solidFill>
                <a:srgbClr val="292929"/>
              </a:solidFill>
            </a:endParaRPr>
          </a:p>
        </p:txBody>
      </p:sp>
      <p:sp>
        <p:nvSpPr>
          <p:cNvPr id="16" name="TextBox 15"/>
          <p:cNvSpPr txBox="1"/>
          <p:nvPr/>
        </p:nvSpPr>
        <p:spPr>
          <a:xfrm>
            <a:off x="1652109" y="1935750"/>
            <a:ext cx="4143226" cy="628918"/>
          </a:xfrm>
          <a:prstGeom prst="rect">
            <a:avLst/>
          </a:prstGeom>
          <a:noFill/>
        </p:spPr>
        <p:txBody>
          <a:bodyPr wrap="square" rtlCol="0">
            <a:noAutofit/>
          </a:bodyPr>
          <a:lstStyle/>
          <a:p>
            <a:pPr defTabSz="912813">
              <a:spcBef>
                <a:spcPct val="0"/>
              </a:spcBef>
              <a:tabLst>
                <a:tab pos="1371600" algn="l"/>
              </a:tabLst>
            </a:pPr>
            <a:r>
              <a:rPr lang="en-US" sz="1400" dirty="0">
                <a:solidFill>
                  <a:srgbClr val="00B0F0"/>
                </a:solidFill>
                <a:cs typeface="Arial" charset="0"/>
              </a:rPr>
              <a:t>•  </a:t>
            </a:r>
            <a:r>
              <a:rPr lang="en-US" sz="1400" dirty="0">
                <a:solidFill>
                  <a:srgbClr val="292929"/>
                </a:solidFill>
                <a:cs typeface="Arial" charset="0"/>
              </a:rPr>
              <a:t>target.com</a:t>
            </a:r>
            <a:r>
              <a:rPr lang="en-US" sz="1400" dirty="0">
                <a:solidFill>
                  <a:srgbClr val="00B0F0"/>
                </a:solidFill>
                <a:cs typeface="Arial" charset="0"/>
              </a:rPr>
              <a:t>	 </a:t>
            </a:r>
            <a:r>
              <a:rPr lang="en-US" sz="1400" dirty="0">
                <a:solidFill>
                  <a:srgbClr val="C00000"/>
                </a:solidFill>
                <a:cs typeface="Arial" charset="0"/>
              </a:rPr>
              <a:t>•</a:t>
            </a:r>
            <a:r>
              <a:rPr lang="en-US" sz="1400" dirty="0">
                <a:solidFill>
                  <a:srgbClr val="00B0F0"/>
                </a:solidFill>
                <a:cs typeface="Arial" charset="0"/>
              </a:rPr>
              <a:t>  </a:t>
            </a:r>
            <a:r>
              <a:rPr lang="en-US" sz="1400" dirty="0">
                <a:solidFill>
                  <a:srgbClr val="292929"/>
                </a:solidFill>
                <a:cs typeface="Arial" charset="0"/>
              </a:rPr>
              <a:t>walmart.com</a:t>
            </a:r>
          </a:p>
          <a:p>
            <a:pPr defTabSz="912813">
              <a:spcBef>
                <a:spcPct val="0"/>
              </a:spcBef>
              <a:tabLst>
                <a:tab pos="1371600" algn="l"/>
              </a:tabLst>
            </a:pPr>
            <a:r>
              <a:rPr lang="en-US" sz="1400" dirty="0">
                <a:solidFill>
                  <a:srgbClr val="FFC000"/>
                </a:solidFill>
                <a:cs typeface="Arial" charset="0"/>
              </a:rPr>
              <a:t>•</a:t>
            </a:r>
            <a:r>
              <a:rPr lang="en-US" sz="1400" dirty="0">
                <a:solidFill>
                  <a:srgbClr val="00B0F0"/>
                </a:solidFill>
                <a:cs typeface="Arial" charset="0"/>
              </a:rPr>
              <a:t>  </a:t>
            </a:r>
            <a:r>
              <a:rPr lang="en-US" sz="1400" dirty="0">
                <a:solidFill>
                  <a:srgbClr val="292929"/>
                </a:solidFill>
                <a:cs typeface="Arial" charset="0"/>
              </a:rPr>
              <a:t>toysrus.com</a:t>
            </a:r>
            <a:r>
              <a:rPr lang="en-US" sz="1400" dirty="0">
                <a:solidFill>
                  <a:srgbClr val="FFC000"/>
                </a:solidFill>
                <a:cs typeface="Arial" charset="0"/>
              </a:rPr>
              <a:t>	</a:t>
            </a:r>
            <a:r>
              <a:rPr lang="en-US" sz="1400" dirty="0">
                <a:solidFill>
                  <a:srgbClr val="00B0F0"/>
                </a:solidFill>
                <a:cs typeface="Arial" charset="0"/>
              </a:rPr>
              <a:t> </a:t>
            </a:r>
            <a:r>
              <a:rPr lang="en-US" sz="1400" dirty="0">
                <a:solidFill>
                  <a:srgbClr val="00B050"/>
                </a:solidFill>
                <a:cs typeface="Arial" charset="0"/>
              </a:rPr>
              <a:t>•</a:t>
            </a:r>
            <a:r>
              <a:rPr lang="en-US" sz="1400" dirty="0">
                <a:solidFill>
                  <a:srgbClr val="00B0F0"/>
                </a:solidFill>
                <a:cs typeface="Arial" charset="0"/>
              </a:rPr>
              <a:t>  </a:t>
            </a:r>
            <a:r>
              <a:rPr lang="en-US" sz="1400" dirty="0">
                <a:solidFill>
                  <a:srgbClr val="292929"/>
                </a:solidFill>
                <a:cs typeface="Arial" charset="0"/>
              </a:rPr>
              <a:t>barnesandnoble.com</a:t>
            </a:r>
          </a:p>
        </p:txBody>
      </p:sp>
      <p:sp>
        <p:nvSpPr>
          <p:cNvPr id="17" name="Freeform 16"/>
          <p:cNvSpPr/>
          <p:nvPr/>
        </p:nvSpPr>
        <p:spPr>
          <a:xfrm>
            <a:off x="6346147" y="3056669"/>
            <a:ext cx="3969342" cy="2220054"/>
          </a:xfrm>
          <a:custGeom>
            <a:avLst/>
            <a:gdLst>
              <a:gd name="connsiteX0" fmla="*/ 0 w 3324225"/>
              <a:gd name="connsiteY0" fmla="*/ 1581646 h 2220054"/>
              <a:gd name="connsiteX1" fmla="*/ 19050 w 3324225"/>
              <a:gd name="connsiteY1" fmla="*/ 1657846 h 2220054"/>
              <a:gd name="connsiteX2" fmla="*/ 38100 w 3324225"/>
              <a:gd name="connsiteY2" fmla="*/ 1638796 h 2220054"/>
              <a:gd name="connsiteX3" fmla="*/ 66675 w 3324225"/>
              <a:gd name="connsiteY3" fmla="*/ 1695946 h 2220054"/>
              <a:gd name="connsiteX4" fmla="*/ 85725 w 3324225"/>
              <a:gd name="connsiteY4" fmla="*/ 1734046 h 2220054"/>
              <a:gd name="connsiteX5" fmla="*/ 114300 w 3324225"/>
              <a:gd name="connsiteY5" fmla="*/ 1829296 h 2220054"/>
              <a:gd name="connsiteX6" fmla="*/ 123825 w 3324225"/>
              <a:gd name="connsiteY6" fmla="*/ 1705471 h 2220054"/>
              <a:gd name="connsiteX7" fmla="*/ 152400 w 3324225"/>
              <a:gd name="connsiteY7" fmla="*/ 1676896 h 2220054"/>
              <a:gd name="connsiteX8" fmla="*/ 171450 w 3324225"/>
              <a:gd name="connsiteY8" fmla="*/ 1743571 h 2220054"/>
              <a:gd name="connsiteX9" fmla="*/ 190500 w 3324225"/>
              <a:gd name="connsiteY9" fmla="*/ 1619746 h 2220054"/>
              <a:gd name="connsiteX10" fmla="*/ 190500 w 3324225"/>
              <a:gd name="connsiteY10" fmla="*/ 1495921 h 2220054"/>
              <a:gd name="connsiteX11" fmla="*/ 219075 w 3324225"/>
              <a:gd name="connsiteY11" fmla="*/ 1429246 h 2220054"/>
              <a:gd name="connsiteX12" fmla="*/ 219075 w 3324225"/>
              <a:gd name="connsiteY12" fmla="*/ 1381621 h 2220054"/>
              <a:gd name="connsiteX13" fmla="*/ 238125 w 3324225"/>
              <a:gd name="connsiteY13" fmla="*/ 1381621 h 2220054"/>
              <a:gd name="connsiteX14" fmla="*/ 228600 w 3324225"/>
              <a:gd name="connsiteY14" fmla="*/ 1305421 h 2220054"/>
              <a:gd name="connsiteX15" fmla="*/ 247650 w 3324225"/>
              <a:gd name="connsiteY15" fmla="*/ 1276846 h 2220054"/>
              <a:gd name="connsiteX16" fmla="*/ 247650 w 3324225"/>
              <a:gd name="connsiteY16" fmla="*/ 1181596 h 2220054"/>
              <a:gd name="connsiteX17" fmla="*/ 266700 w 3324225"/>
              <a:gd name="connsiteY17" fmla="*/ 1095871 h 2220054"/>
              <a:gd name="connsiteX18" fmla="*/ 257175 w 3324225"/>
              <a:gd name="connsiteY18" fmla="*/ 1010146 h 2220054"/>
              <a:gd name="connsiteX19" fmla="*/ 276225 w 3324225"/>
              <a:gd name="connsiteY19" fmla="*/ 952996 h 2220054"/>
              <a:gd name="connsiteX20" fmla="*/ 276225 w 3324225"/>
              <a:gd name="connsiteY20" fmla="*/ 857746 h 2220054"/>
              <a:gd name="connsiteX21" fmla="*/ 285750 w 3324225"/>
              <a:gd name="connsiteY21" fmla="*/ 724396 h 2220054"/>
              <a:gd name="connsiteX22" fmla="*/ 295275 w 3324225"/>
              <a:gd name="connsiteY22" fmla="*/ 638671 h 2220054"/>
              <a:gd name="connsiteX23" fmla="*/ 304800 w 3324225"/>
              <a:gd name="connsiteY23" fmla="*/ 486271 h 2220054"/>
              <a:gd name="connsiteX24" fmla="*/ 314325 w 3324225"/>
              <a:gd name="connsiteY24" fmla="*/ 371971 h 2220054"/>
              <a:gd name="connsiteX25" fmla="*/ 333375 w 3324225"/>
              <a:gd name="connsiteY25" fmla="*/ 267196 h 2220054"/>
              <a:gd name="connsiteX26" fmla="*/ 352425 w 3324225"/>
              <a:gd name="connsiteY26" fmla="*/ 467221 h 2220054"/>
              <a:gd name="connsiteX27" fmla="*/ 361950 w 3324225"/>
              <a:gd name="connsiteY27" fmla="*/ 648196 h 2220054"/>
              <a:gd name="connsiteX28" fmla="*/ 371475 w 3324225"/>
              <a:gd name="connsiteY28" fmla="*/ 724396 h 2220054"/>
              <a:gd name="connsiteX29" fmla="*/ 371475 w 3324225"/>
              <a:gd name="connsiteY29" fmla="*/ 867271 h 2220054"/>
              <a:gd name="connsiteX30" fmla="*/ 390525 w 3324225"/>
              <a:gd name="connsiteY30" fmla="*/ 905371 h 2220054"/>
              <a:gd name="connsiteX31" fmla="*/ 400050 w 3324225"/>
              <a:gd name="connsiteY31" fmla="*/ 1019671 h 2220054"/>
              <a:gd name="connsiteX32" fmla="*/ 419100 w 3324225"/>
              <a:gd name="connsiteY32" fmla="*/ 1029196 h 2220054"/>
              <a:gd name="connsiteX33" fmla="*/ 409575 w 3324225"/>
              <a:gd name="connsiteY33" fmla="*/ 1200646 h 2220054"/>
              <a:gd name="connsiteX34" fmla="*/ 428625 w 3324225"/>
              <a:gd name="connsiteY34" fmla="*/ 1238746 h 2220054"/>
              <a:gd name="connsiteX35" fmla="*/ 438150 w 3324225"/>
              <a:gd name="connsiteY35" fmla="*/ 1200646 h 2220054"/>
              <a:gd name="connsiteX36" fmla="*/ 476250 w 3324225"/>
              <a:gd name="connsiteY36" fmla="*/ 1257796 h 2220054"/>
              <a:gd name="connsiteX37" fmla="*/ 476250 w 3324225"/>
              <a:gd name="connsiteY37" fmla="*/ 1391146 h 2220054"/>
              <a:gd name="connsiteX38" fmla="*/ 485775 w 3324225"/>
              <a:gd name="connsiteY38" fmla="*/ 1372096 h 2220054"/>
              <a:gd name="connsiteX39" fmla="*/ 495300 w 3324225"/>
              <a:gd name="connsiteY39" fmla="*/ 1467346 h 2220054"/>
              <a:gd name="connsiteX40" fmla="*/ 514350 w 3324225"/>
              <a:gd name="connsiteY40" fmla="*/ 1457821 h 2220054"/>
              <a:gd name="connsiteX41" fmla="*/ 542925 w 3324225"/>
              <a:gd name="connsiteY41" fmla="*/ 1581646 h 2220054"/>
              <a:gd name="connsiteX42" fmla="*/ 561975 w 3324225"/>
              <a:gd name="connsiteY42" fmla="*/ 1562596 h 2220054"/>
              <a:gd name="connsiteX43" fmla="*/ 561975 w 3324225"/>
              <a:gd name="connsiteY43" fmla="*/ 1638796 h 2220054"/>
              <a:gd name="connsiteX44" fmla="*/ 581025 w 3324225"/>
              <a:gd name="connsiteY44" fmla="*/ 1667371 h 2220054"/>
              <a:gd name="connsiteX45" fmla="*/ 590550 w 3324225"/>
              <a:gd name="connsiteY45" fmla="*/ 1705471 h 2220054"/>
              <a:gd name="connsiteX46" fmla="*/ 619125 w 3324225"/>
              <a:gd name="connsiteY46" fmla="*/ 1686421 h 2220054"/>
              <a:gd name="connsiteX47" fmla="*/ 628650 w 3324225"/>
              <a:gd name="connsiteY47" fmla="*/ 1695946 h 2220054"/>
              <a:gd name="connsiteX48" fmla="*/ 647700 w 3324225"/>
              <a:gd name="connsiteY48" fmla="*/ 1676896 h 2220054"/>
              <a:gd name="connsiteX49" fmla="*/ 657225 w 3324225"/>
              <a:gd name="connsiteY49" fmla="*/ 1695946 h 2220054"/>
              <a:gd name="connsiteX50" fmla="*/ 676275 w 3324225"/>
              <a:gd name="connsiteY50" fmla="*/ 1657846 h 2220054"/>
              <a:gd name="connsiteX51" fmla="*/ 685800 w 3324225"/>
              <a:gd name="connsiteY51" fmla="*/ 1686421 h 2220054"/>
              <a:gd name="connsiteX52" fmla="*/ 704850 w 3324225"/>
              <a:gd name="connsiteY52" fmla="*/ 1762621 h 2220054"/>
              <a:gd name="connsiteX53" fmla="*/ 714375 w 3324225"/>
              <a:gd name="connsiteY53" fmla="*/ 1724521 h 2220054"/>
              <a:gd name="connsiteX54" fmla="*/ 733425 w 3324225"/>
              <a:gd name="connsiteY54" fmla="*/ 1724521 h 2220054"/>
              <a:gd name="connsiteX55" fmla="*/ 762000 w 3324225"/>
              <a:gd name="connsiteY55" fmla="*/ 1705471 h 2220054"/>
              <a:gd name="connsiteX56" fmla="*/ 752475 w 3324225"/>
              <a:gd name="connsiteY56" fmla="*/ 1657846 h 2220054"/>
              <a:gd name="connsiteX57" fmla="*/ 781050 w 3324225"/>
              <a:gd name="connsiteY57" fmla="*/ 1619746 h 2220054"/>
              <a:gd name="connsiteX58" fmla="*/ 790575 w 3324225"/>
              <a:gd name="connsiteY58" fmla="*/ 1629271 h 2220054"/>
              <a:gd name="connsiteX59" fmla="*/ 790575 w 3324225"/>
              <a:gd name="connsiteY59" fmla="*/ 1591171 h 2220054"/>
              <a:gd name="connsiteX60" fmla="*/ 790575 w 3324225"/>
              <a:gd name="connsiteY60" fmla="*/ 1610221 h 2220054"/>
              <a:gd name="connsiteX61" fmla="*/ 809625 w 3324225"/>
              <a:gd name="connsiteY61" fmla="*/ 1543546 h 2220054"/>
              <a:gd name="connsiteX62" fmla="*/ 819150 w 3324225"/>
              <a:gd name="connsiteY62" fmla="*/ 1562596 h 2220054"/>
              <a:gd name="connsiteX63" fmla="*/ 828675 w 3324225"/>
              <a:gd name="connsiteY63" fmla="*/ 1505446 h 2220054"/>
              <a:gd name="connsiteX64" fmla="*/ 847725 w 3324225"/>
              <a:gd name="connsiteY64" fmla="*/ 1514971 h 2220054"/>
              <a:gd name="connsiteX65" fmla="*/ 847725 w 3324225"/>
              <a:gd name="connsiteY65" fmla="*/ 1419721 h 2220054"/>
              <a:gd name="connsiteX66" fmla="*/ 857250 w 3324225"/>
              <a:gd name="connsiteY66" fmla="*/ 1505446 h 2220054"/>
              <a:gd name="connsiteX67" fmla="*/ 866775 w 3324225"/>
              <a:gd name="connsiteY67" fmla="*/ 1295896 h 2220054"/>
              <a:gd name="connsiteX68" fmla="*/ 866775 w 3324225"/>
              <a:gd name="connsiteY68" fmla="*/ 1067296 h 2220054"/>
              <a:gd name="connsiteX69" fmla="*/ 876300 w 3324225"/>
              <a:gd name="connsiteY69" fmla="*/ 867271 h 2220054"/>
              <a:gd name="connsiteX70" fmla="*/ 876300 w 3324225"/>
              <a:gd name="connsiteY70" fmla="*/ 772021 h 2220054"/>
              <a:gd name="connsiteX71" fmla="*/ 885825 w 3324225"/>
              <a:gd name="connsiteY71" fmla="*/ 619621 h 2220054"/>
              <a:gd name="connsiteX72" fmla="*/ 904875 w 3324225"/>
              <a:gd name="connsiteY72" fmla="*/ 857746 h 2220054"/>
              <a:gd name="connsiteX73" fmla="*/ 904875 w 3324225"/>
              <a:gd name="connsiteY73" fmla="*/ 1076821 h 2220054"/>
              <a:gd name="connsiteX74" fmla="*/ 904875 w 3324225"/>
              <a:gd name="connsiteY74" fmla="*/ 1219696 h 2220054"/>
              <a:gd name="connsiteX75" fmla="*/ 923925 w 3324225"/>
              <a:gd name="connsiteY75" fmla="*/ 1333996 h 2220054"/>
              <a:gd name="connsiteX76" fmla="*/ 923925 w 3324225"/>
              <a:gd name="connsiteY76" fmla="*/ 1524496 h 2220054"/>
              <a:gd name="connsiteX77" fmla="*/ 923925 w 3324225"/>
              <a:gd name="connsiteY77" fmla="*/ 1838821 h 2220054"/>
              <a:gd name="connsiteX78" fmla="*/ 942975 w 3324225"/>
              <a:gd name="connsiteY78" fmla="*/ 2153146 h 2220054"/>
              <a:gd name="connsiteX79" fmla="*/ 952500 w 3324225"/>
              <a:gd name="connsiteY79" fmla="*/ 2191246 h 2220054"/>
              <a:gd name="connsiteX80" fmla="*/ 952500 w 3324225"/>
              <a:gd name="connsiteY80" fmla="*/ 2095996 h 2220054"/>
              <a:gd name="connsiteX81" fmla="*/ 971550 w 3324225"/>
              <a:gd name="connsiteY81" fmla="*/ 2162671 h 2220054"/>
              <a:gd name="connsiteX82" fmla="*/ 981075 w 3324225"/>
              <a:gd name="connsiteY82" fmla="*/ 2086471 h 2220054"/>
              <a:gd name="connsiteX83" fmla="*/ 990600 w 3324225"/>
              <a:gd name="connsiteY83" fmla="*/ 2191246 h 2220054"/>
              <a:gd name="connsiteX84" fmla="*/ 1019175 w 3324225"/>
              <a:gd name="connsiteY84" fmla="*/ 2181721 h 2220054"/>
              <a:gd name="connsiteX85" fmla="*/ 1047750 w 3324225"/>
              <a:gd name="connsiteY85" fmla="*/ 2210296 h 2220054"/>
              <a:gd name="connsiteX86" fmla="*/ 1057275 w 3324225"/>
              <a:gd name="connsiteY86" fmla="*/ 2143621 h 2220054"/>
              <a:gd name="connsiteX87" fmla="*/ 1133475 w 3324225"/>
              <a:gd name="connsiteY87" fmla="*/ 2210296 h 2220054"/>
              <a:gd name="connsiteX88" fmla="*/ 1171575 w 3324225"/>
              <a:gd name="connsiteY88" fmla="*/ 2181721 h 2220054"/>
              <a:gd name="connsiteX89" fmla="*/ 1190625 w 3324225"/>
              <a:gd name="connsiteY89" fmla="*/ 2219821 h 2220054"/>
              <a:gd name="connsiteX90" fmla="*/ 1200150 w 3324225"/>
              <a:gd name="connsiteY90" fmla="*/ 2191246 h 2220054"/>
              <a:gd name="connsiteX91" fmla="*/ 1219200 w 3324225"/>
              <a:gd name="connsiteY91" fmla="*/ 2219821 h 2220054"/>
              <a:gd name="connsiteX92" fmla="*/ 1228725 w 3324225"/>
              <a:gd name="connsiteY92" fmla="*/ 2172196 h 2220054"/>
              <a:gd name="connsiteX93" fmla="*/ 1257300 w 3324225"/>
              <a:gd name="connsiteY93" fmla="*/ 2210296 h 2220054"/>
              <a:gd name="connsiteX94" fmla="*/ 1276350 w 3324225"/>
              <a:gd name="connsiteY94" fmla="*/ 2191246 h 2220054"/>
              <a:gd name="connsiteX95" fmla="*/ 1295400 w 3324225"/>
              <a:gd name="connsiteY95" fmla="*/ 2219821 h 2220054"/>
              <a:gd name="connsiteX96" fmla="*/ 1323975 w 3324225"/>
              <a:gd name="connsiteY96" fmla="*/ 2172196 h 2220054"/>
              <a:gd name="connsiteX97" fmla="*/ 1362075 w 3324225"/>
              <a:gd name="connsiteY97" fmla="*/ 2219821 h 2220054"/>
              <a:gd name="connsiteX98" fmla="*/ 1390650 w 3324225"/>
              <a:gd name="connsiteY98" fmla="*/ 2172196 h 2220054"/>
              <a:gd name="connsiteX99" fmla="*/ 1419225 w 3324225"/>
              <a:gd name="connsiteY99" fmla="*/ 2219821 h 2220054"/>
              <a:gd name="connsiteX100" fmla="*/ 1447800 w 3324225"/>
              <a:gd name="connsiteY100" fmla="*/ 2191246 h 2220054"/>
              <a:gd name="connsiteX101" fmla="*/ 1466850 w 3324225"/>
              <a:gd name="connsiteY101" fmla="*/ 2210296 h 2220054"/>
              <a:gd name="connsiteX102" fmla="*/ 1495425 w 3324225"/>
              <a:gd name="connsiteY102" fmla="*/ 2172196 h 2220054"/>
              <a:gd name="connsiteX103" fmla="*/ 1514475 w 3324225"/>
              <a:gd name="connsiteY103" fmla="*/ 2210296 h 2220054"/>
              <a:gd name="connsiteX104" fmla="*/ 1543050 w 3324225"/>
              <a:gd name="connsiteY104" fmla="*/ 2143621 h 2220054"/>
              <a:gd name="connsiteX105" fmla="*/ 1571625 w 3324225"/>
              <a:gd name="connsiteY105" fmla="*/ 2191246 h 2220054"/>
              <a:gd name="connsiteX106" fmla="*/ 1600200 w 3324225"/>
              <a:gd name="connsiteY106" fmla="*/ 2153146 h 2220054"/>
              <a:gd name="connsiteX107" fmla="*/ 1638300 w 3324225"/>
              <a:gd name="connsiteY107" fmla="*/ 2191246 h 2220054"/>
              <a:gd name="connsiteX108" fmla="*/ 1666875 w 3324225"/>
              <a:gd name="connsiteY108" fmla="*/ 2143621 h 2220054"/>
              <a:gd name="connsiteX109" fmla="*/ 1704975 w 3324225"/>
              <a:gd name="connsiteY109" fmla="*/ 2172196 h 2220054"/>
              <a:gd name="connsiteX110" fmla="*/ 1704975 w 3324225"/>
              <a:gd name="connsiteY110" fmla="*/ 2143621 h 2220054"/>
              <a:gd name="connsiteX111" fmla="*/ 1743075 w 3324225"/>
              <a:gd name="connsiteY111" fmla="*/ 2153146 h 2220054"/>
              <a:gd name="connsiteX112" fmla="*/ 1809750 w 3324225"/>
              <a:gd name="connsiteY112" fmla="*/ 2115046 h 2220054"/>
              <a:gd name="connsiteX113" fmla="*/ 1857375 w 3324225"/>
              <a:gd name="connsiteY113" fmla="*/ 2162671 h 2220054"/>
              <a:gd name="connsiteX114" fmla="*/ 1866900 w 3324225"/>
              <a:gd name="connsiteY114" fmla="*/ 2191246 h 2220054"/>
              <a:gd name="connsiteX115" fmla="*/ 1924050 w 3324225"/>
              <a:gd name="connsiteY115" fmla="*/ 2162671 h 2220054"/>
              <a:gd name="connsiteX116" fmla="*/ 1952625 w 3324225"/>
              <a:gd name="connsiteY116" fmla="*/ 2200771 h 2220054"/>
              <a:gd name="connsiteX117" fmla="*/ 1981200 w 3324225"/>
              <a:gd name="connsiteY117" fmla="*/ 2105521 h 2220054"/>
              <a:gd name="connsiteX118" fmla="*/ 2019300 w 3324225"/>
              <a:gd name="connsiteY118" fmla="*/ 2143621 h 2220054"/>
              <a:gd name="connsiteX119" fmla="*/ 2066925 w 3324225"/>
              <a:gd name="connsiteY119" fmla="*/ 2124571 h 2220054"/>
              <a:gd name="connsiteX120" fmla="*/ 2085975 w 3324225"/>
              <a:gd name="connsiteY120" fmla="*/ 2153146 h 2220054"/>
              <a:gd name="connsiteX121" fmla="*/ 2133600 w 3324225"/>
              <a:gd name="connsiteY121" fmla="*/ 2105521 h 2220054"/>
              <a:gd name="connsiteX122" fmla="*/ 2143125 w 3324225"/>
              <a:gd name="connsiteY122" fmla="*/ 2143621 h 2220054"/>
              <a:gd name="connsiteX123" fmla="*/ 2181225 w 3324225"/>
              <a:gd name="connsiteY123" fmla="*/ 2200771 h 2220054"/>
              <a:gd name="connsiteX124" fmla="*/ 2219325 w 3324225"/>
              <a:gd name="connsiteY124" fmla="*/ 2143621 h 2220054"/>
              <a:gd name="connsiteX125" fmla="*/ 2228850 w 3324225"/>
              <a:gd name="connsiteY125" fmla="*/ 2143621 h 2220054"/>
              <a:gd name="connsiteX126" fmla="*/ 2238375 w 3324225"/>
              <a:gd name="connsiteY126" fmla="*/ 2095996 h 2220054"/>
              <a:gd name="connsiteX127" fmla="*/ 2266950 w 3324225"/>
              <a:gd name="connsiteY127" fmla="*/ 2115046 h 2220054"/>
              <a:gd name="connsiteX128" fmla="*/ 2305050 w 3324225"/>
              <a:gd name="connsiteY128" fmla="*/ 2019796 h 2220054"/>
              <a:gd name="connsiteX129" fmla="*/ 2343150 w 3324225"/>
              <a:gd name="connsiteY129" fmla="*/ 2134096 h 2220054"/>
              <a:gd name="connsiteX130" fmla="*/ 2371725 w 3324225"/>
              <a:gd name="connsiteY130" fmla="*/ 2134096 h 2220054"/>
              <a:gd name="connsiteX131" fmla="*/ 2409825 w 3324225"/>
              <a:gd name="connsiteY131" fmla="*/ 2105521 h 2220054"/>
              <a:gd name="connsiteX132" fmla="*/ 2447925 w 3324225"/>
              <a:gd name="connsiteY132" fmla="*/ 2143621 h 2220054"/>
              <a:gd name="connsiteX133" fmla="*/ 2476500 w 3324225"/>
              <a:gd name="connsiteY133" fmla="*/ 2143621 h 2220054"/>
              <a:gd name="connsiteX134" fmla="*/ 2514600 w 3324225"/>
              <a:gd name="connsiteY134" fmla="*/ 2105521 h 2220054"/>
              <a:gd name="connsiteX135" fmla="*/ 2552700 w 3324225"/>
              <a:gd name="connsiteY135" fmla="*/ 2124571 h 2220054"/>
              <a:gd name="connsiteX136" fmla="*/ 2581275 w 3324225"/>
              <a:gd name="connsiteY136" fmla="*/ 2086471 h 2220054"/>
              <a:gd name="connsiteX137" fmla="*/ 2628900 w 3324225"/>
              <a:gd name="connsiteY137" fmla="*/ 2115046 h 2220054"/>
              <a:gd name="connsiteX138" fmla="*/ 2647950 w 3324225"/>
              <a:gd name="connsiteY138" fmla="*/ 2153146 h 2220054"/>
              <a:gd name="connsiteX139" fmla="*/ 2667000 w 3324225"/>
              <a:gd name="connsiteY139" fmla="*/ 2038846 h 2220054"/>
              <a:gd name="connsiteX140" fmla="*/ 2695575 w 3324225"/>
              <a:gd name="connsiteY140" fmla="*/ 1981696 h 2220054"/>
              <a:gd name="connsiteX141" fmla="*/ 2714625 w 3324225"/>
              <a:gd name="connsiteY141" fmla="*/ 2057896 h 2220054"/>
              <a:gd name="connsiteX142" fmla="*/ 2752725 w 3324225"/>
              <a:gd name="connsiteY142" fmla="*/ 2019796 h 2220054"/>
              <a:gd name="connsiteX143" fmla="*/ 2790825 w 3324225"/>
              <a:gd name="connsiteY143" fmla="*/ 2048371 h 2220054"/>
              <a:gd name="connsiteX144" fmla="*/ 2828925 w 3324225"/>
              <a:gd name="connsiteY144" fmla="*/ 2019796 h 2220054"/>
              <a:gd name="connsiteX145" fmla="*/ 2867025 w 3324225"/>
              <a:gd name="connsiteY145" fmla="*/ 2067421 h 2220054"/>
              <a:gd name="connsiteX146" fmla="*/ 2886075 w 3324225"/>
              <a:gd name="connsiteY146" fmla="*/ 2010271 h 2220054"/>
              <a:gd name="connsiteX147" fmla="*/ 2895600 w 3324225"/>
              <a:gd name="connsiteY147" fmla="*/ 2029321 h 2220054"/>
              <a:gd name="connsiteX148" fmla="*/ 2905125 w 3324225"/>
              <a:gd name="connsiteY148" fmla="*/ 1953121 h 2220054"/>
              <a:gd name="connsiteX149" fmla="*/ 2924175 w 3324225"/>
              <a:gd name="connsiteY149" fmla="*/ 1972171 h 2220054"/>
              <a:gd name="connsiteX150" fmla="*/ 2924175 w 3324225"/>
              <a:gd name="connsiteY150" fmla="*/ 1857871 h 2220054"/>
              <a:gd name="connsiteX151" fmla="*/ 2943225 w 3324225"/>
              <a:gd name="connsiteY151" fmla="*/ 1886446 h 2220054"/>
              <a:gd name="connsiteX152" fmla="*/ 2943225 w 3324225"/>
              <a:gd name="connsiteY152" fmla="*/ 1743571 h 2220054"/>
              <a:gd name="connsiteX153" fmla="*/ 2971800 w 3324225"/>
              <a:gd name="connsiteY153" fmla="*/ 1705471 h 2220054"/>
              <a:gd name="connsiteX154" fmla="*/ 3000375 w 3324225"/>
              <a:gd name="connsiteY154" fmla="*/ 1724521 h 2220054"/>
              <a:gd name="connsiteX155" fmla="*/ 3009900 w 3324225"/>
              <a:gd name="connsiteY155" fmla="*/ 1553071 h 2220054"/>
              <a:gd name="connsiteX156" fmla="*/ 3019425 w 3324225"/>
              <a:gd name="connsiteY156" fmla="*/ 1438771 h 2220054"/>
              <a:gd name="connsiteX157" fmla="*/ 3028950 w 3324225"/>
              <a:gd name="connsiteY157" fmla="*/ 1295896 h 2220054"/>
              <a:gd name="connsiteX158" fmla="*/ 3057525 w 3324225"/>
              <a:gd name="connsiteY158" fmla="*/ 1210171 h 2220054"/>
              <a:gd name="connsiteX159" fmla="*/ 3067050 w 3324225"/>
              <a:gd name="connsiteY159" fmla="*/ 1143496 h 2220054"/>
              <a:gd name="connsiteX160" fmla="*/ 3076575 w 3324225"/>
              <a:gd name="connsiteY160" fmla="*/ 1029196 h 2220054"/>
              <a:gd name="connsiteX161" fmla="*/ 3086100 w 3324225"/>
              <a:gd name="connsiteY161" fmla="*/ 876796 h 2220054"/>
              <a:gd name="connsiteX162" fmla="*/ 3095625 w 3324225"/>
              <a:gd name="connsiteY162" fmla="*/ 762496 h 2220054"/>
              <a:gd name="connsiteX163" fmla="*/ 3114675 w 3324225"/>
              <a:gd name="connsiteY163" fmla="*/ 829171 h 2220054"/>
              <a:gd name="connsiteX164" fmla="*/ 3124200 w 3324225"/>
              <a:gd name="connsiteY164" fmla="*/ 724396 h 2220054"/>
              <a:gd name="connsiteX165" fmla="*/ 3124200 w 3324225"/>
              <a:gd name="connsiteY165" fmla="*/ 610096 h 2220054"/>
              <a:gd name="connsiteX166" fmla="*/ 3133725 w 3324225"/>
              <a:gd name="connsiteY166" fmla="*/ 524371 h 2220054"/>
              <a:gd name="connsiteX167" fmla="*/ 3143250 w 3324225"/>
              <a:gd name="connsiteY167" fmla="*/ 305296 h 2220054"/>
              <a:gd name="connsiteX168" fmla="*/ 3152775 w 3324225"/>
              <a:gd name="connsiteY168" fmla="*/ 171946 h 2220054"/>
              <a:gd name="connsiteX169" fmla="*/ 3162300 w 3324225"/>
              <a:gd name="connsiteY169" fmla="*/ 496 h 2220054"/>
              <a:gd name="connsiteX170" fmla="*/ 3190875 w 3324225"/>
              <a:gd name="connsiteY170" fmla="*/ 229096 h 2220054"/>
              <a:gd name="connsiteX171" fmla="*/ 3190875 w 3324225"/>
              <a:gd name="connsiteY171" fmla="*/ 552946 h 2220054"/>
              <a:gd name="connsiteX172" fmla="*/ 3209925 w 3324225"/>
              <a:gd name="connsiteY172" fmla="*/ 686296 h 2220054"/>
              <a:gd name="connsiteX173" fmla="*/ 3200400 w 3324225"/>
              <a:gd name="connsiteY173" fmla="*/ 838696 h 2220054"/>
              <a:gd name="connsiteX174" fmla="*/ 3228975 w 3324225"/>
              <a:gd name="connsiteY174" fmla="*/ 952996 h 2220054"/>
              <a:gd name="connsiteX175" fmla="*/ 3248025 w 3324225"/>
              <a:gd name="connsiteY175" fmla="*/ 991096 h 2220054"/>
              <a:gd name="connsiteX176" fmla="*/ 3276600 w 3324225"/>
              <a:gd name="connsiteY176" fmla="*/ 1095871 h 2220054"/>
              <a:gd name="connsiteX177" fmla="*/ 3267075 w 3324225"/>
              <a:gd name="connsiteY177" fmla="*/ 1191121 h 2220054"/>
              <a:gd name="connsiteX178" fmla="*/ 3276600 w 3324225"/>
              <a:gd name="connsiteY178" fmla="*/ 1286371 h 2220054"/>
              <a:gd name="connsiteX179" fmla="*/ 3324225 w 3324225"/>
              <a:gd name="connsiteY179" fmla="*/ 1362571 h 2220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Lst>
            <a:rect l="l" t="t" r="r" b="b"/>
            <a:pathLst>
              <a:path w="3324225" h="2220054">
                <a:moveTo>
                  <a:pt x="0" y="1581646"/>
                </a:moveTo>
                <a:cubicBezTo>
                  <a:pt x="6350" y="1614983"/>
                  <a:pt x="12700" y="1648321"/>
                  <a:pt x="19050" y="1657846"/>
                </a:cubicBezTo>
                <a:cubicBezTo>
                  <a:pt x="25400" y="1667371"/>
                  <a:pt x="30163" y="1632446"/>
                  <a:pt x="38100" y="1638796"/>
                </a:cubicBezTo>
                <a:cubicBezTo>
                  <a:pt x="46037" y="1645146"/>
                  <a:pt x="66675" y="1695946"/>
                  <a:pt x="66675" y="1695946"/>
                </a:cubicBezTo>
                <a:cubicBezTo>
                  <a:pt x="74612" y="1711821"/>
                  <a:pt x="77788" y="1711821"/>
                  <a:pt x="85725" y="1734046"/>
                </a:cubicBezTo>
                <a:cubicBezTo>
                  <a:pt x="93663" y="1756271"/>
                  <a:pt x="107950" y="1834058"/>
                  <a:pt x="114300" y="1829296"/>
                </a:cubicBezTo>
                <a:cubicBezTo>
                  <a:pt x="120650" y="1824534"/>
                  <a:pt x="117475" y="1730871"/>
                  <a:pt x="123825" y="1705471"/>
                </a:cubicBezTo>
                <a:cubicBezTo>
                  <a:pt x="130175" y="1680071"/>
                  <a:pt x="144463" y="1670546"/>
                  <a:pt x="152400" y="1676896"/>
                </a:cubicBezTo>
                <a:cubicBezTo>
                  <a:pt x="160337" y="1683246"/>
                  <a:pt x="165100" y="1753096"/>
                  <a:pt x="171450" y="1743571"/>
                </a:cubicBezTo>
                <a:cubicBezTo>
                  <a:pt x="177800" y="1734046"/>
                  <a:pt x="187325" y="1661021"/>
                  <a:pt x="190500" y="1619746"/>
                </a:cubicBezTo>
                <a:cubicBezTo>
                  <a:pt x="193675" y="1578471"/>
                  <a:pt x="185738" y="1527671"/>
                  <a:pt x="190500" y="1495921"/>
                </a:cubicBezTo>
                <a:cubicBezTo>
                  <a:pt x="195262" y="1464171"/>
                  <a:pt x="214313" y="1448296"/>
                  <a:pt x="219075" y="1429246"/>
                </a:cubicBezTo>
                <a:cubicBezTo>
                  <a:pt x="223837" y="1410196"/>
                  <a:pt x="215900" y="1389559"/>
                  <a:pt x="219075" y="1381621"/>
                </a:cubicBezTo>
                <a:cubicBezTo>
                  <a:pt x="222250" y="1373683"/>
                  <a:pt x="236538" y="1394321"/>
                  <a:pt x="238125" y="1381621"/>
                </a:cubicBezTo>
                <a:cubicBezTo>
                  <a:pt x="239712" y="1368921"/>
                  <a:pt x="227013" y="1322883"/>
                  <a:pt x="228600" y="1305421"/>
                </a:cubicBezTo>
                <a:cubicBezTo>
                  <a:pt x="230187" y="1287959"/>
                  <a:pt x="244475" y="1297483"/>
                  <a:pt x="247650" y="1276846"/>
                </a:cubicBezTo>
                <a:cubicBezTo>
                  <a:pt x="250825" y="1256208"/>
                  <a:pt x="244475" y="1211759"/>
                  <a:pt x="247650" y="1181596"/>
                </a:cubicBezTo>
                <a:cubicBezTo>
                  <a:pt x="250825" y="1151433"/>
                  <a:pt x="265113" y="1124446"/>
                  <a:pt x="266700" y="1095871"/>
                </a:cubicBezTo>
                <a:cubicBezTo>
                  <a:pt x="268288" y="1067296"/>
                  <a:pt x="255587" y="1033959"/>
                  <a:pt x="257175" y="1010146"/>
                </a:cubicBezTo>
                <a:cubicBezTo>
                  <a:pt x="258763" y="986333"/>
                  <a:pt x="273050" y="978396"/>
                  <a:pt x="276225" y="952996"/>
                </a:cubicBezTo>
                <a:cubicBezTo>
                  <a:pt x="279400" y="927596"/>
                  <a:pt x="274637" y="895846"/>
                  <a:pt x="276225" y="857746"/>
                </a:cubicBezTo>
                <a:cubicBezTo>
                  <a:pt x="277813" y="819646"/>
                  <a:pt x="282575" y="760908"/>
                  <a:pt x="285750" y="724396"/>
                </a:cubicBezTo>
                <a:cubicBezTo>
                  <a:pt x="288925" y="687884"/>
                  <a:pt x="292100" y="678358"/>
                  <a:pt x="295275" y="638671"/>
                </a:cubicBezTo>
                <a:cubicBezTo>
                  <a:pt x="298450" y="598984"/>
                  <a:pt x="301625" y="530721"/>
                  <a:pt x="304800" y="486271"/>
                </a:cubicBezTo>
                <a:cubicBezTo>
                  <a:pt x="307975" y="441821"/>
                  <a:pt x="309563" y="408483"/>
                  <a:pt x="314325" y="371971"/>
                </a:cubicBezTo>
                <a:cubicBezTo>
                  <a:pt x="319088" y="335458"/>
                  <a:pt x="327025" y="251321"/>
                  <a:pt x="333375" y="267196"/>
                </a:cubicBezTo>
                <a:cubicBezTo>
                  <a:pt x="339725" y="283071"/>
                  <a:pt x="347663" y="403721"/>
                  <a:pt x="352425" y="467221"/>
                </a:cubicBezTo>
                <a:cubicBezTo>
                  <a:pt x="357187" y="530721"/>
                  <a:pt x="358775" y="605334"/>
                  <a:pt x="361950" y="648196"/>
                </a:cubicBezTo>
                <a:cubicBezTo>
                  <a:pt x="365125" y="691058"/>
                  <a:pt x="369888" y="687884"/>
                  <a:pt x="371475" y="724396"/>
                </a:cubicBezTo>
                <a:cubicBezTo>
                  <a:pt x="373062" y="760908"/>
                  <a:pt x="368300" y="837108"/>
                  <a:pt x="371475" y="867271"/>
                </a:cubicBezTo>
                <a:cubicBezTo>
                  <a:pt x="374650" y="897434"/>
                  <a:pt x="385763" y="879971"/>
                  <a:pt x="390525" y="905371"/>
                </a:cubicBezTo>
                <a:cubicBezTo>
                  <a:pt x="395287" y="930771"/>
                  <a:pt x="395288" y="999034"/>
                  <a:pt x="400050" y="1019671"/>
                </a:cubicBezTo>
                <a:cubicBezTo>
                  <a:pt x="404812" y="1040308"/>
                  <a:pt x="417513" y="999034"/>
                  <a:pt x="419100" y="1029196"/>
                </a:cubicBezTo>
                <a:cubicBezTo>
                  <a:pt x="420687" y="1059358"/>
                  <a:pt x="407987" y="1165721"/>
                  <a:pt x="409575" y="1200646"/>
                </a:cubicBezTo>
                <a:cubicBezTo>
                  <a:pt x="411163" y="1235571"/>
                  <a:pt x="423863" y="1238746"/>
                  <a:pt x="428625" y="1238746"/>
                </a:cubicBezTo>
                <a:cubicBezTo>
                  <a:pt x="433387" y="1238746"/>
                  <a:pt x="430212" y="1197471"/>
                  <a:pt x="438150" y="1200646"/>
                </a:cubicBezTo>
                <a:cubicBezTo>
                  <a:pt x="446088" y="1203821"/>
                  <a:pt x="469900" y="1226046"/>
                  <a:pt x="476250" y="1257796"/>
                </a:cubicBezTo>
                <a:cubicBezTo>
                  <a:pt x="482600" y="1289546"/>
                  <a:pt x="474663" y="1372096"/>
                  <a:pt x="476250" y="1391146"/>
                </a:cubicBezTo>
                <a:cubicBezTo>
                  <a:pt x="477837" y="1410196"/>
                  <a:pt x="482600" y="1359396"/>
                  <a:pt x="485775" y="1372096"/>
                </a:cubicBezTo>
                <a:cubicBezTo>
                  <a:pt x="488950" y="1384796"/>
                  <a:pt x="490537" y="1453058"/>
                  <a:pt x="495300" y="1467346"/>
                </a:cubicBezTo>
                <a:cubicBezTo>
                  <a:pt x="500063" y="1481634"/>
                  <a:pt x="506413" y="1438771"/>
                  <a:pt x="514350" y="1457821"/>
                </a:cubicBezTo>
                <a:cubicBezTo>
                  <a:pt x="522287" y="1476871"/>
                  <a:pt x="534988" y="1564184"/>
                  <a:pt x="542925" y="1581646"/>
                </a:cubicBezTo>
                <a:cubicBezTo>
                  <a:pt x="550862" y="1599108"/>
                  <a:pt x="558800" y="1553071"/>
                  <a:pt x="561975" y="1562596"/>
                </a:cubicBezTo>
                <a:cubicBezTo>
                  <a:pt x="565150" y="1572121"/>
                  <a:pt x="558800" y="1621334"/>
                  <a:pt x="561975" y="1638796"/>
                </a:cubicBezTo>
                <a:cubicBezTo>
                  <a:pt x="565150" y="1656259"/>
                  <a:pt x="576263" y="1656259"/>
                  <a:pt x="581025" y="1667371"/>
                </a:cubicBezTo>
                <a:cubicBezTo>
                  <a:pt x="585787" y="1678483"/>
                  <a:pt x="584200" y="1702296"/>
                  <a:pt x="590550" y="1705471"/>
                </a:cubicBezTo>
                <a:cubicBezTo>
                  <a:pt x="596900" y="1708646"/>
                  <a:pt x="612775" y="1688009"/>
                  <a:pt x="619125" y="1686421"/>
                </a:cubicBezTo>
                <a:cubicBezTo>
                  <a:pt x="625475" y="1684834"/>
                  <a:pt x="623888" y="1697533"/>
                  <a:pt x="628650" y="1695946"/>
                </a:cubicBezTo>
                <a:cubicBezTo>
                  <a:pt x="633412" y="1694359"/>
                  <a:pt x="642938" y="1676896"/>
                  <a:pt x="647700" y="1676896"/>
                </a:cubicBezTo>
                <a:cubicBezTo>
                  <a:pt x="652462" y="1676896"/>
                  <a:pt x="652463" y="1699121"/>
                  <a:pt x="657225" y="1695946"/>
                </a:cubicBezTo>
                <a:cubicBezTo>
                  <a:pt x="661987" y="1692771"/>
                  <a:pt x="671513" y="1659433"/>
                  <a:pt x="676275" y="1657846"/>
                </a:cubicBezTo>
                <a:cubicBezTo>
                  <a:pt x="681037" y="1656259"/>
                  <a:pt x="681037" y="1668958"/>
                  <a:pt x="685800" y="1686421"/>
                </a:cubicBezTo>
                <a:cubicBezTo>
                  <a:pt x="690563" y="1703884"/>
                  <a:pt x="700088" y="1756271"/>
                  <a:pt x="704850" y="1762621"/>
                </a:cubicBezTo>
                <a:cubicBezTo>
                  <a:pt x="709612" y="1768971"/>
                  <a:pt x="709613" y="1730871"/>
                  <a:pt x="714375" y="1724521"/>
                </a:cubicBezTo>
                <a:cubicBezTo>
                  <a:pt x="719137" y="1718171"/>
                  <a:pt x="725487" y="1727696"/>
                  <a:pt x="733425" y="1724521"/>
                </a:cubicBezTo>
                <a:cubicBezTo>
                  <a:pt x="741363" y="1721346"/>
                  <a:pt x="758825" y="1716584"/>
                  <a:pt x="762000" y="1705471"/>
                </a:cubicBezTo>
                <a:cubicBezTo>
                  <a:pt x="765175" y="1694358"/>
                  <a:pt x="749300" y="1672133"/>
                  <a:pt x="752475" y="1657846"/>
                </a:cubicBezTo>
                <a:cubicBezTo>
                  <a:pt x="755650" y="1643559"/>
                  <a:pt x="774700" y="1624508"/>
                  <a:pt x="781050" y="1619746"/>
                </a:cubicBezTo>
                <a:cubicBezTo>
                  <a:pt x="787400" y="1614984"/>
                  <a:pt x="788988" y="1634033"/>
                  <a:pt x="790575" y="1629271"/>
                </a:cubicBezTo>
                <a:cubicBezTo>
                  <a:pt x="792162" y="1624509"/>
                  <a:pt x="790575" y="1591171"/>
                  <a:pt x="790575" y="1591171"/>
                </a:cubicBezTo>
                <a:cubicBezTo>
                  <a:pt x="790575" y="1587996"/>
                  <a:pt x="787400" y="1618159"/>
                  <a:pt x="790575" y="1610221"/>
                </a:cubicBezTo>
                <a:cubicBezTo>
                  <a:pt x="793750" y="1602283"/>
                  <a:pt x="804863" y="1551483"/>
                  <a:pt x="809625" y="1543546"/>
                </a:cubicBezTo>
                <a:cubicBezTo>
                  <a:pt x="814388" y="1535608"/>
                  <a:pt x="815975" y="1568946"/>
                  <a:pt x="819150" y="1562596"/>
                </a:cubicBezTo>
                <a:cubicBezTo>
                  <a:pt x="822325" y="1556246"/>
                  <a:pt x="823913" y="1513383"/>
                  <a:pt x="828675" y="1505446"/>
                </a:cubicBezTo>
                <a:cubicBezTo>
                  <a:pt x="833438" y="1497508"/>
                  <a:pt x="844550" y="1529258"/>
                  <a:pt x="847725" y="1514971"/>
                </a:cubicBezTo>
                <a:cubicBezTo>
                  <a:pt x="850900" y="1500684"/>
                  <a:pt x="846138" y="1421308"/>
                  <a:pt x="847725" y="1419721"/>
                </a:cubicBezTo>
                <a:cubicBezTo>
                  <a:pt x="849312" y="1418134"/>
                  <a:pt x="854075" y="1526083"/>
                  <a:pt x="857250" y="1505446"/>
                </a:cubicBezTo>
                <a:cubicBezTo>
                  <a:pt x="860425" y="1484808"/>
                  <a:pt x="865188" y="1368921"/>
                  <a:pt x="866775" y="1295896"/>
                </a:cubicBezTo>
                <a:cubicBezTo>
                  <a:pt x="868362" y="1222871"/>
                  <a:pt x="865188" y="1138733"/>
                  <a:pt x="866775" y="1067296"/>
                </a:cubicBezTo>
                <a:cubicBezTo>
                  <a:pt x="868363" y="995858"/>
                  <a:pt x="874713" y="916483"/>
                  <a:pt x="876300" y="867271"/>
                </a:cubicBezTo>
                <a:cubicBezTo>
                  <a:pt x="877887" y="818059"/>
                  <a:pt x="874713" y="813296"/>
                  <a:pt x="876300" y="772021"/>
                </a:cubicBezTo>
                <a:cubicBezTo>
                  <a:pt x="877887" y="730746"/>
                  <a:pt x="881062" y="605333"/>
                  <a:pt x="885825" y="619621"/>
                </a:cubicBezTo>
                <a:cubicBezTo>
                  <a:pt x="890588" y="633909"/>
                  <a:pt x="901700" y="781546"/>
                  <a:pt x="904875" y="857746"/>
                </a:cubicBezTo>
                <a:cubicBezTo>
                  <a:pt x="908050" y="933946"/>
                  <a:pt x="904875" y="1076821"/>
                  <a:pt x="904875" y="1076821"/>
                </a:cubicBezTo>
                <a:cubicBezTo>
                  <a:pt x="904875" y="1137146"/>
                  <a:pt x="901700" y="1176834"/>
                  <a:pt x="904875" y="1219696"/>
                </a:cubicBezTo>
                <a:cubicBezTo>
                  <a:pt x="908050" y="1262558"/>
                  <a:pt x="920750" y="1283196"/>
                  <a:pt x="923925" y="1333996"/>
                </a:cubicBezTo>
                <a:cubicBezTo>
                  <a:pt x="927100" y="1384796"/>
                  <a:pt x="923925" y="1524496"/>
                  <a:pt x="923925" y="1524496"/>
                </a:cubicBezTo>
                <a:cubicBezTo>
                  <a:pt x="923925" y="1608633"/>
                  <a:pt x="920750" y="1734046"/>
                  <a:pt x="923925" y="1838821"/>
                </a:cubicBezTo>
                <a:cubicBezTo>
                  <a:pt x="927100" y="1943596"/>
                  <a:pt x="938213" y="2094409"/>
                  <a:pt x="942975" y="2153146"/>
                </a:cubicBezTo>
                <a:cubicBezTo>
                  <a:pt x="947738" y="2211884"/>
                  <a:pt x="950913" y="2200771"/>
                  <a:pt x="952500" y="2191246"/>
                </a:cubicBezTo>
                <a:cubicBezTo>
                  <a:pt x="954088" y="2181721"/>
                  <a:pt x="949325" y="2100758"/>
                  <a:pt x="952500" y="2095996"/>
                </a:cubicBezTo>
                <a:cubicBezTo>
                  <a:pt x="955675" y="2091234"/>
                  <a:pt x="966788" y="2164258"/>
                  <a:pt x="971550" y="2162671"/>
                </a:cubicBezTo>
                <a:cubicBezTo>
                  <a:pt x="976312" y="2161084"/>
                  <a:pt x="977900" y="2081709"/>
                  <a:pt x="981075" y="2086471"/>
                </a:cubicBezTo>
                <a:cubicBezTo>
                  <a:pt x="984250" y="2091233"/>
                  <a:pt x="984250" y="2175371"/>
                  <a:pt x="990600" y="2191246"/>
                </a:cubicBezTo>
                <a:cubicBezTo>
                  <a:pt x="996950" y="2207121"/>
                  <a:pt x="1009650" y="2178546"/>
                  <a:pt x="1019175" y="2181721"/>
                </a:cubicBezTo>
                <a:cubicBezTo>
                  <a:pt x="1028700" y="2184896"/>
                  <a:pt x="1041400" y="2216646"/>
                  <a:pt x="1047750" y="2210296"/>
                </a:cubicBezTo>
                <a:cubicBezTo>
                  <a:pt x="1054100" y="2203946"/>
                  <a:pt x="1042988" y="2143621"/>
                  <a:pt x="1057275" y="2143621"/>
                </a:cubicBezTo>
                <a:cubicBezTo>
                  <a:pt x="1071562" y="2143621"/>
                  <a:pt x="1114425" y="2203946"/>
                  <a:pt x="1133475" y="2210296"/>
                </a:cubicBezTo>
                <a:cubicBezTo>
                  <a:pt x="1152525" y="2216646"/>
                  <a:pt x="1162050" y="2180134"/>
                  <a:pt x="1171575" y="2181721"/>
                </a:cubicBezTo>
                <a:cubicBezTo>
                  <a:pt x="1181100" y="2183309"/>
                  <a:pt x="1185863" y="2218234"/>
                  <a:pt x="1190625" y="2219821"/>
                </a:cubicBezTo>
                <a:cubicBezTo>
                  <a:pt x="1195387" y="2221408"/>
                  <a:pt x="1195388" y="2191246"/>
                  <a:pt x="1200150" y="2191246"/>
                </a:cubicBezTo>
                <a:cubicBezTo>
                  <a:pt x="1204912" y="2191246"/>
                  <a:pt x="1214438" y="2222996"/>
                  <a:pt x="1219200" y="2219821"/>
                </a:cubicBezTo>
                <a:cubicBezTo>
                  <a:pt x="1223962" y="2216646"/>
                  <a:pt x="1222375" y="2173784"/>
                  <a:pt x="1228725" y="2172196"/>
                </a:cubicBezTo>
                <a:cubicBezTo>
                  <a:pt x="1235075" y="2170609"/>
                  <a:pt x="1249362" y="2207121"/>
                  <a:pt x="1257300" y="2210296"/>
                </a:cubicBezTo>
                <a:cubicBezTo>
                  <a:pt x="1265238" y="2213471"/>
                  <a:pt x="1270000" y="2189659"/>
                  <a:pt x="1276350" y="2191246"/>
                </a:cubicBezTo>
                <a:cubicBezTo>
                  <a:pt x="1282700" y="2192834"/>
                  <a:pt x="1287462" y="2222996"/>
                  <a:pt x="1295400" y="2219821"/>
                </a:cubicBezTo>
                <a:cubicBezTo>
                  <a:pt x="1303338" y="2216646"/>
                  <a:pt x="1312863" y="2172196"/>
                  <a:pt x="1323975" y="2172196"/>
                </a:cubicBezTo>
                <a:cubicBezTo>
                  <a:pt x="1335087" y="2172196"/>
                  <a:pt x="1350963" y="2219821"/>
                  <a:pt x="1362075" y="2219821"/>
                </a:cubicBezTo>
                <a:cubicBezTo>
                  <a:pt x="1373187" y="2219821"/>
                  <a:pt x="1381125" y="2172196"/>
                  <a:pt x="1390650" y="2172196"/>
                </a:cubicBezTo>
                <a:cubicBezTo>
                  <a:pt x="1400175" y="2172196"/>
                  <a:pt x="1409700" y="2216646"/>
                  <a:pt x="1419225" y="2219821"/>
                </a:cubicBezTo>
                <a:cubicBezTo>
                  <a:pt x="1428750" y="2222996"/>
                  <a:pt x="1439862" y="2192834"/>
                  <a:pt x="1447800" y="2191246"/>
                </a:cubicBezTo>
                <a:cubicBezTo>
                  <a:pt x="1455738" y="2189658"/>
                  <a:pt x="1458912" y="2213471"/>
                  <a:pt x="1466850" y="2210296"/>
                </a:cubicBezTo>
                <a:cubicBezTo>
                  <a:pt x="1474788" y="2207121"/>
                  <a:pt x="1487488" y="2172196"/>
                  <a:pt x="1495425" y="2172196"/>
                </a:cubicBezTo>
                <a:cubicBezTo>
                  <a:pt x="1503362" y="2172196"/>
                  <a:pt x="1506538" y="2215059"/>
                  <a:pt x="1514475" y="2210296"/>
                </a:cubicBezTo>
                <a:cubicBezTo>
                  <a:pt x="1522413" y="2205534"/>
                  <a:pt x="1533525" y="2146796"/>
                  <a:pt x="1543050" y="2143621"/>
                </a:cubicBezTo>
                <a:cubicBezTo>
                  <a:pt x="1552575" y="2140446"/>
                  <a:pt x="1562100" y="2189659"/>
                  <a:pt x="1571625" y="2191246"/>
                </a:cubicBezTo>
                <a:cubicBezTo>
                  <a:pt x="1581150" y="2192834"/>
                  <a:pt x="1589088" y="2153146"/>
                  <a:pt x="1600200" y="2153146"/>
                </a:cubicBezTo>
                <a:cubicBezTo>
                  <a:pt x="1611312" y="2153146"/>
                  <a:pt x="1627188" y="2192833"/>
                  <a:pt x="1638300" y="2191246"/>
                </a:cubicBezTo>
                <a:cubicBezTo>
                  <a:pt x="1649412" y="2189659"/>
                  <a:pt x="1655762" y="2146796"/>
                  <a:pt x="1666875" y="2143621"/>
                </a:cubicBezTo>
                <a:cubicBezTo>
                  <a:pt x="1677988" y="2140446"/>
                  <a:pt x="1698625" y="2172196"/>
                  <a:pt x="1704975" y="2172196"/>
                </a:cubicBezTo>
                <a:cubicBezTo>
                  <a:pt x="1711325" y="2172196"/>
                  <a:pt x="1698625" y="2146796"/>
                  <a:pt x="1704975" y="2143621"/>
                </a:cubicBezTo>
                <a:cubicBezTo>
                  <a:pt x="1711325" y="2140446"/>
                  <a:pt x="1725612" y="2157909"/>
                  <a:pt x="1743075" y="2153146"/>
                </a:cubicBezTo>
                <a:cubicBezTo>
                  <a:pt x="1760538" y="2148383"/>
                  <a:pt x="1790700" y="2113459"/>
                  <a:pt x="1809750" y="2115046"/>
                </a:cubicBezTo>
                <a:cubicBezTo>
                  <a:pt x="1828800" y="2116633"/>
                  <a:pt x="1847850" y="2149971"/>
                  <a:pt x="1857375" y="2162671"/>
                </a:cubicBezTo>
                <a:cubicBezTo>
                  <a:pt x="1866900" y="2175371"/>
                  <a:pt x="1855788" y="2191246"/>
                  <a:pt x="1866900" y="2191246"/>
                </a:cubicBezTo>
                <a:cubicBezTo>
                  <a:pt x="1878012" y="2191246"/>
                  <a:pt x="1909763" y="2161084"/>
                  <a:pt x="1924050" y="2162671"/>
                </a:cubicBezTo>
                <a:cubicBezTo>
                  <a:pt x="1938337" y="2164258"/>
                  <a:pt x="1943100" y="2210296"/>
                  <a:pt x="1952625" y="2200771"/>
                </a:cubicBezTo>
                <a:cubicBezTo>
                  <a:pt x="1962150" y="2191246"/>
                  <a:pt x="1970088" y="2115046"/>
                  <a:pt x="1981200" y="2105521"/>
                </a:cubicBezTo>
                <a:cubicBezTo>
                  <a:pt x="1992313" y="2095996"/>
                  <a:pt x="2005013" y="2140446"/>
                  <a:pt x="2019300" y="2143621"/>
                </a:cubicBezTo>
                <a:cubicBezTo>
                  <a:pt x="2033587" y="2146796"/>
                  <a:pt x="2055813" y="2122984"/>
                  <a:pt x="2066925" y="2124571"/>
                </a:cubicBezTo>
                <a:cubicBezTo>
                  <a:pt x="2078037" y="2126158"/>
                  <a:pt x="2074862" y="2156321"/>
                  <a:pt x="2085975" y="2153146"/>
                </a:cubicBezTo>
                <a:cubicBezTo>
                  <a:pt x="2097088" y="2149971"/>
                  <a:pt x="2124075" y="2107109"/>
                  <a:pt x="2133600" y="2105521"/>
                </a:cubicBezTo>
                <a:cubicBezTo>
                  <a:pt x="2143125" y="2103934"/>
                  <a:pt x="2135188" y="2127746"/>
                  <a:pt x="2143125" y="2143621"/>
                </a:cubicBezTo>
                <a:cubicBezTo>
                  <a:pt x="2151062" y="2159496"/>
                  <a:pt x="2168525" y="2200771"/>
                  <a:pt x="2181225" y="2200771"/>
                </a:cubicBezTo>
                <a:cubicBezTo>
                  <a:pt x="2193925" y="2200771"/>
                  <a:pt x="2211388" y="2153146"/>
                  <a:pt x="2219325" y="2143621"/>
                </a:cubicBezTo>
                <a:cubicBezTo>
                  <a:pt x="2227262" y="2134096"/>
                  <a:pt x="2225675" y="2151559"/>
                  <a:pt x="2228850" y="2143621"/>
                </a:cubicBezTo>
                <a:cubicBezTo>
                  <a:pt x="2232025" y="2135683"/>
                  <a:pt x="2232025" y="2100758"/>
                  <a:pt x="2238375" y="2095996"/>
                </a:cubicBezTo>
                <a:cubicBezTo>
                  <a:pt x="2244725" y="2091234"/>
                  <a:pt x="2255838" y="2127746"/>
                  <a:pt x="2266950" y="2115046"/>
                </a:cubicBezTo>
                <a:cubicBezTo>
                  <a:pt x="2278062" y="2102346"/>
                  <a:pt x="2292350" y="2016621"/>
                  <a:pt x="2305050" y="2019796"/>
                </a:cubicBezTo>
                <a:cubicBezTo>
                  <a:pt x="2317750" y="2022971"/>
                  <a:pt x="2332038" y="2115046"/>
                  <a:pt x="2343150" y="2134096"/>
                </a:cubicBezTo>
                <a:cubicBezTo>
                  <a:pt x="2354262" y="2153146"/>
                  <a:pt x="2360613" y="2138858"/>
                  <a:pt x="2371725" y="2134096"/>
                </a:cubicBezTo>
                <a:cubicBezTo>
                  <a:pt x="2382837" y="2129334"/>
                  <a:pt x="2397125" y="2103934"/>
                  <a:pt x="2409825" y="2105521"/>
                </a:cubicBezTo>
                <a:cubicBezTo>
                  <a:pt x="2422525" y="2107108"/>
                  <a:pt x="2436813" y="2137271"/>
                  <a:pt x="2447925" y="2143621"/>
                </a:cubicBezTo>
                <a:cubicBezTo>
                  <a:pt x="2459037" y="2149971"/>
                  <a:pt x="2465388" y="2149971"/>
                  <a:pt x="2476500" y="2143621"/>
                </a:cubicBezTo>
                <a:cubicBezTo>
                  <a:pt x="2487612" y="2137271"/>
                  <a:pt x="2501900" y="2108696"/>
                  <a:pt x="2514600" y="2105521"/>
                </a:cubicBezTo>
                <a:cubicBezTo>
                  <a:pt x="2527300" y="2102346"/>
                  <a:pt x="2541587" y="2127746"/>
                  <a:pt x="2552700" y="2124571"/>
                </a:cubicBezTo>
                <a:cubicBezTo>
                  <a:pt x="2563813" y="2121396"/>
                  <a:pt x="2568575" y="2088058"/>
                  <a:pt x="2581275" y="2086471"/>
                </a:cubicBezTo>
                <a:cubicBezTo>
                  <a:pt x="2593975" y="2084884"/>
                  <a:pt x="2617788" y="2103934"/>
                  <a:pt x="2628900" y="2115046"/>
                </a:cubicBezTo>
                <a:cubicBezTo>
                  <a:pt x="2640012" y="2126158"/>
                  <a:pt x="2641600" y="2165846"/>
                  <a:pt x="2647950" y="2153146"/>
                </a:cubicBezTo>
                <a:cubicBezTo>
                  <a:pt x="2654300" y="2140446"/>
                  <a:pt x="2659062" y="2067421"/>
                  <a:pt x="2667000" y="2038846"/>
                </a:cubicBezTo>
                <a:cubicBezTo>
                  <a:pt x="2674938" y="2010271"/>
                  <a:pt x="2687637" y="1978521"/>
                  <a:pt x="2695575" y="1981696"/>
                </a:cubicBezTo>
                <a:cubicBezTo>
                  <a:pt x="2703513" y="1984871"/>
                  <a:pt x="2705100" y="2051546"/>
                  <a:pt x="2714625" y="2057896"/>
                </a:cubicBezTo>
                <a:cubicBezTo>
                  <a:pt x="2724150" y="2064246"/>
                  <a:pt x="2740025" y="2021383"/>
                  <a:pt x="2752725" y="2019796"/>
                </a:cubicBezTo>
                <a:cubicBezTo>
                  <a:pt x="2765425" y="2018209"/>
                  <a:pt x="2778125" y="2048371"/>
                  <a:pt x="2790825" y="2048371"/>
                </a:cubicBezTo>
                <a:cubicBezTo>
                  <a:pt x="2803525" y="2048371"/>
                  <a:pt x="2816225" y="2016621"/>
                  <a:pt x="2828925" y="2019796"/>
                </a:cubicBezTo>
                <a:cubicBezTo>
                  <a:pt x="2841625" y="2022971"/>
                  <a:pt x="2857500" y="2069009"/>
                  <a:pt x="2867025" y="2067421"/>
                </a:cubicBezTo>
                <a:cubicBezTo>
                  <a:pt x="2876550" y="2065834"/>
                  <a:pt x="2881313" y="2016621"/>
                  <a:pt x="2886075" y="2010271"/>
                </a:cubicBezTo>
                <a:cubicBezTo>
                  <a:pt x="2890837" y="2003921"/>
                  <a:pt x="2892425" y="2038846"/>
                  <a:pt x="2895600" y="2029321"/>
                </a:cubicBezTo>
                <a:cubicBezTo>
                  <a:pt x="2898775" y="2019796"/>
                  <a:pt x="2900362" y="1962646"/>
                  <a:pt x="2905125" y="1953121"/>
                </a:cubicBezTo>
                <a:cubicBezTo>
                  <a:pt x="2909888" y="1943596"/>
                  <a:pt x="2921000" y="1988046"/>
                  <a:pt x="2924175" y="1972171"/>
                </a:cubicBezTo>
                <a:cubicBezTo>
                  <a:pt x="2927350" y="1956296"/>
                  <a:pt x="2921000" y="1872158"/>
                  <a:pt x="2924175" y="1857871"/>
                </a:cubicBezTo>
                <a:cubicBezTo>
                  <a:pt x="2927350" y="1843584"/>
                  <a:pt x="2940050" y="1905496"/>
                  <a:pt x="2943225" y="1886446"/>
                </a:cubicBezTo>
                <a:cubicBezTo>
                  <a:pt x="2946400" y="1867396"/>
                  <a:pt x="2938463" y="1773734"/>
                  <a:pt x="2943225" y="1743571"/>
                </a:cubicBezTo>
                <a:cubicBezTo>
                  <a:pt x="2947988" y="1713409"/>
                  <a:pt x="2962275" y="1708646"/>
                  <a:pt x="2971800" y="1705471"/>
                </a:cubicBezTo>
                <a:cubicBezTo>
                  <a:pt x="2981325" y="1702296"/>
                  <a:pt x="2994025" y="1749921"/>
                  <a:pt x="3000375" y="1724521"/>
                </a:cubicBezTo>
                <a:cubicBezTo>
                  <a:pt x="3006725" y="1699121"/>
                  <a:pt x="3006725" y="1600696"/>
                  <a:pt x="3009900" y="1553071"/>
                </a:cubicBezTo>
                <a:cubicBezTo>
                  <a:pt x="3013075" y="1505446"/>
                  <a:pt x="3016250" y="1481633"/>
                  <a:pt x="3019425" y="1438771"/>
                </a:cubicBezTo>
                <a:cubicBezTo>
                  <a:pt x="3022600" y="1395909"/>
                  <a:pt x="3022600" y="1333996"/>
                  <a:pt x="3028950" y="1295896"/>
                </a:cubicBezTo>
                <a:cubicBezTo>
                  <a:pt x="3035300" y="1257796"/>
                  <a:pt x="3051175" y="1235571"/>
                  <a:pt x="3057525" y="1210171"/>
                </a:cubicBezTo>
                <a:cubicBezTo>
                  <a:pt x="3063875" y="1184771"/>
                  <a:pt x="3063875" y="1173659"/>
                  <a:pt x="3067050" y="1143496"/>
                </a:cubicBezTo>
                <a:cubicBezTo>
                  <a:pt x="3070225" y="1113333"/>
                  <a:pt x="3073400" y="1073646"/>
                  <a:pt x="3076575" y="1029196"/>
                </a:cubicBezTo>
                <a:cubicBezTo>
                  <a:pt x="3079750" y="984746"/>
                  <a:pt x="3082925" y="921246"/>
                  <a:pt x="3086100" y="876796"/>
                </a:cubicBezTo>
                <a:cubicBezTo>
                  <a:pt x="3089275" y="832346"/>
                  <a:pt x="3090863" y="770433"/>
                  <a:pt x="3095625" y="762496"/>
                </a:cubicBezTo>
                <a:cubicBezTo>
                  <a:pt x="3100388" y="754558"/>
                  <a:pt x="3109913" y="835521"/>
                  <a:pt x="3114675" y="829171"/>
                </a:cubicBezTo>
                <a:cubicBezTo>
                  <a:pt x="3119437" y="822821"/>
                  <a:pt x="3122613" y="760908"/>
                  <a:pt x="3124200" y="724396"/>
                </a:cubicBezTo>
                <a:cubicBezTo>
                  <a:pt x="3125787" y="687884"/>
                  <a:pt x="3122613" y="643433"/>
                  <a:pt x="3124200" y="610096"/>
                </a:cubicBezTo>
                <a:cubicBezTo>
                  <a:pt x="3125787" y="576759"/>
                  <a:pt x="3130550" y="575171"/>
                  <a:pt x="3133725" y="524371"/>
                </a:cubicBezTo>
                <a:cubicBezTo>
                  <a:pt x="3136900" y="473571"/>
                  <a:pt x="3140075" y="364033"/>
                  <a:pt x="3143250" y="305296"/>
                </a:cubicBezTo>
                <a:cubicBezTo>
                  <a:pt x="3146425" y="246558"/>
                  <a:pt x="3149600" y="222746"/>
                  <a:pt x="3152775" y="171946"/>
                </a:cubicBezTo>
                <a:cubicBezTo>
                  <a:pt x="3155950" y="121146"/>
                  <a:pt x="3155950" y="-9029"/>
                  <a:pt x="3162300" y="496"/>
                </a:cubicBezTo>
                <a:cubicBezTo>
                  <a:pt x="3168650" y="10021"/>
                  <a:pt x="3186113" y="137021"/>
                  <a:pt x="3190875" y="229096"/>
                </a:cubicBezTo>
                <a:cubicBezTo>
                  <a:pt x="3195637" y="321171"/>
                  <a:pt x="3187700" y="476746"/>
                  <a:pt x="3190875" y="552946"/>
                </a:cubicBezTo>
                <a:cubicBezTo>
                  <a:pt x="3194050" y="629146"/>
                  <a:pt x="3208338" y="638671"/>
                  <a:pt x="3209925" y="686296"/>
                </a:cubicBezTo>
                <a:cubicBezTo>
                  <a:pt x="3211512" y="733921"/>
                  <a:pt x="3197225" y="794246"/>
                  <a:pt x="3200400" y="838696"/>
                </a:cubicBezTo>
                <a:cubicBezTo>
                  <a:pt x="3203575" y="883146"/>
                  <a:pt x="3221038" y="927596"/>
                  <a:pt x="3228975" y="952996"/>
                </a:cubicBezTo>
                <a:cubicBezTo>
                  <a:pt x="3236912" y="978396"/>
                  <a:pt x="3240088" y="967283"/>
                  <a:pt x="3248025" y="991096"/>
                </a:cubicBezTo>
                <a:cubicBezTo>
                  <a:pt x="3255963" y="1014908"/>
                  <a:pt x="3273425" y="1062534"/>
                  <a:pt x="3276600" y="1095871"/>
                </a:cubicBezTo>
                <a:cubicBezTo>
                  <a:pt x="3279775" y="1129208"/>
                  <a:pt x="3267075" y="1159371"/>
                  <a:pt x="3267075" y="1191121"/>
                </a:cubicBezTo>
                <a:cubicBezTo>
                  <a:pt x="3267075" y="1222871"/>
                  <a:pt x="3267075" y="1257796"/>
                  <a:pt x="3276600" y="1286371"/>
                </a:cubicBezTo>
                <a:cubicBezTo>
                  <a:pt x="3286125" y="1314946"/>
                  <a:pt x="3305175" y="1338758"/>
                  <a:pt x="3324225" y="1362571"/>
                </a:cubicBezTo>
              </a:path>
            </a:pathLst>
          </a:custGeom>
          <a:ln w="19050">
            <a:solidFill>
              <a:srgbClr val="FFC000"/>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2813" fontAlgn="base">
              <a:spcBef>
                <a:spcPct val="0"/>
              </a:spcBef>
              <a:spcAft>
                <a:spcPct val="0"/>
              </a:spcAft>
            </a:pPr>
            <a:endParaRPr lang="en-US" dirty="0">
              <a:solidFill>
                <a:srgbClr val="292929"/>
              </a:solidFill>
            </a:endParaRPr>
          </a:p>
        </p:txBody>
      </p:sp>
      <p:sp>
        <p:nvSpPr>
          <p:cNvPr id="18" name="Freeform 17"/>
          <p:cNvSpPr/>
          <p:nvPr/>
        </p:nvSpPr>
        <p:spPr>
          <a:xfrm>
            <a:off x="6368834" y="4676051"/>
            <a:ext cx="3935542" cy="657822"/>
          </a:xfrm>
          <a:custGeom>
            <a:avLst/>
            <a:gdLst>
              <a:gd name="connsiteX0" fmla="*/ 0 w 3295650"/>
              <a:gd name="connsiteY0" fmla="*/ 448039 h 657822"/>
              <a:gd name="connsiteX1" fmla="*/ 47625 w 3295650"/>
              <a:gd name="connsiteY1" fmla="*/ 495664 h 657822"/>
              <a:gd name="connsiteX2" fmla="*/ 85725 w 3295650"/>
              <a:gd name="connsiteY2" fmla="*/ 467089 h 657822"/>
              <a:gd name="connsiteX3" fmla="*/ 114300 w 3295650"/>
              <a:gd name="connsiteY3" fmla="*/ 581389 h 657822"/>
              <a:gd name="connsiteX4" fmla="*/ 142875 w 3295650"/>
              <a:gd name="connsiteY4" fmla="*/ 476614 h 657822"/>
              <a:gd name="connsiteX5" fmla="*/ 161925 w 3295650"/>
              <a:gd name="connsiteY5" fmla="*/ 495664 h 657822"/>
              <a:gd name="connsiteX6" fmla="*/ 190500 w 3295650"/>
              <a:gd name="connsiteY6" fmla="*/ 457564 h 657822"/>
              <a:gd name="connsiteX7" fmla="*/ 219075 w 3295650"/>
              <a:gd name="connsiteY7" fmla="*/ 438514 h 657822"/>
              <a:gd name="connsiteX8" fmla="*/ 238125 w 3295650"/>
              <a:gd name="connsiteY8" fmla="*/ 362314 h 657822"/>
              <a:gd name="connsiteX9" fmla="*/ 266700 w 3295650"/>
              <a:gd name="connsiteY9" fmla="*/ 305164 h 657822"/>
              <a:gd name="connsiteX10" fmla="*/ 285750 w 3295650"/>
              <a:gd name="connsiteY10" fmla="*/ 267064 h 657822"/>
              <a:gd name="connsiteX11" fmla="*/ 304800 w 3295650"/>
              <a:gd name="connsiteY11" fmla="*/ 190864 h 657822"/>
              <a:gd name="connsiteX12" fmla="*/ 342900 w 3295650"/>
              <a:gd name="connsiteY12" fmla="*/ 133714 h 657822"/>
              <a:gd name="connsiteX13" fmla="*/ 371475 w 3295650"/>
              <a:gd name="connsiteY13" fmla="*/ 181339 h 657822"/>
              <a:gd name="connsiteX14" fmla="*/ 371475 w 3295650"/>
              <a:gd name="connsiteY14" fmla="*/ 238489 h 657822"/>
              <a:gd name="connsiteX15" fmla="*/ 400050 w 3295650"/>
              <a:gd name="connsiteY15" fmla="*/ 276589 h 657822"/>
              <a:gd name="connsiteX16" fmla="*/ 409575 w 3295650"/>
              <a:gd name="connsiteY16" fmla="*/ 333739 h 657822"/>
              <a:gd name="connsiteX17" fmla="*/ 428625 w 3295650"/>
              <a:gd name="connsiteY17" fmla="*/ 324214 h 657822"/>
              <a:gd name="connsiteX18" fmla="*/ 447675 w 3295650"/>
              <a:gd name="connsiteY18" fmla="*/ 381364 h 657822"/>
              <a:gd name="connsiteX19" fmla="*/ 476250 w 3295650"/>
              <a:gd name="connsiteY19" fmla="*/ 428989 h 657822"/>
              <a:gd name="connsiteX20" fmla="*/ 495300 w 3295650"/>
              <a:gd name="connsiteY20" fmla="*/ 390889 h 657822"/>
              <a:gd name="connsiteX21" fmla="*/ 504825 w 3295650"/>
              <a:gd name="connsiteY21" fmla="*/ 438514 h 657822"/>
              <a:gd name="connsiteX22" fmla="*/ 523875 w 3295650"/>
              <a:gd name="connsiteY22" fmla="*/ 419464 h 657822"/>
              <a:gd name="connsiteX23" fmla="*/ 552450 w 3295650"/>
              <a:gd name="connsiteY23" fmla="*/ 467089 h 657822"/>
              <a:gd name="connsiteX24" fmla="*/ 561975 w 3295650"/>
              <a:gd name="connsiteY24" fmla="*/ 438514 h 657822"/>
              <a:gd name="connsiteX25" fmla="*/ 600075 w 3295650"/>
              <a:gd name="connsiteY25" fmla="*/ 495664 h 657822"/>
              <a:gd name="connsiteX26" fmla="*/ 609600 w 3295650"/>
              <a:gd name="connsiteY26" fmla="*/ 448039 h 657822"/>
              <a:gd name="connsiteX27" fmla="*/ 657225 w 3295650"/>
              <a:gd name="connsiteY27" fmla="*/ 486139 h 657822"/>
              <a:gd name="connsiteX28" fmla="*/ 695325 w 3295650"/>
              <a:gd name="connsiteY28" fmla="*/ 438514 h 657822"/>
              <a:gd name="connsiteX29" fmla="*/ 714375 w 3295650"/>
              <a:gd name="connsiteY29" fmla="*/ 514714 h 657822"/>
              <a:gd name="connsiteX30" fmla="*/ 762000 w 3295650"/>
              <a:gd name="connsiteY30" fmla="*/ 457564 h 657822"/>
              <a:gd name="connsiteX31" fmla="*/ 781050 w 3295650"/>
              <a:gd name="connsiteY31" fmla="*/ 486139 h 657822"/>
              <a:gd name="connsiteX32" fmla="*/ 781050 w 3295650"/>
              <a:gd name="connsiteY32" fmla="*/ 438514 h 657822"/>
              <a:gd name="connsiteX33" fmla="*/ 809625 w 3295650"/>
              <a:gd name="connsiteY33" fmla="*/ 467089 h 657822"/>
              <a:gd name="connsiteX34" fmla="*/ 819150 w 3295650"/>
              <a:gd name="connsiteY34" fmla="*/ 400414 h 657822"/>
              <a:gd name="connsiteX35" fmla="*/ 838200 w 3295650"/>
              <a:gd name="connsiteY35" fmla="*/ 448039 h 657822"/>
              <a:gd name="connsiteX36" fmla="*/ 847725 w 3295650"/>
              <a:gd name="connsiteY36" fmla="*/ 276589 h 657822"/>
              <a:gd name="connsiteX37" fmla="*/ 866775 w 3295650"/>
              <a:gd name="connsiteY37" fmla="*/ 162289 h 657822"/>
              <a:gd name="connsiteX38" fmla="*/ 876300 w 3295650"/>
              <a:gd name="connsiteY38" fmla="*/ 364 h 657822"/>
              <a:gd name="connsiteX39" fmla="*/ 904875 w 3295650"/>
              <a:gd name="connsiteY39" fmla="*/ 209914 h 657822"/>
              <a:gd name="connsiteX40" fmla="*/ 904875 w 3295650"/>
              <a:gd name="connsiteY40" fmla="*/ 381364 h 657822"/>
              <a:gd name="connsiteX41" fmla="*/ 933450 w 3295650"/>
              <a:gd name="connsiteY41" fmla="*/ 590914 h 657822"/>
              <a:gd name="connsiteX42" fmla="*/ 952500 w 3295650"/>
              <a:gd name="connsiteY42" fmla="*/ 629014 h 657822"/>
              <a:gd name="connsiteX43" fmla="*/ 981075 w 3295650"/>
              <a:gd name="connsiteY43" fmla="*/ 590914 h 657822"/>
              <a:gd name="connsiteX44" fmla="*/ 1019175 w 3295650"/>
              <a:gd name="connsiteY44" fmla="*/ 629014 h 657822"/>
              <a:gd name="connsiteX45" fmla="*/ 1047750 w 3295650"/>
              <a:gd name="connsiteY45" fmla="*/ 609964 h 657822"/>
              <a:gd name="connsiteX46" fmla="*/ 1095375 w 3295650"/>
              <a:gd name="connsiteY46" fmla="*/ 629014 h 657822"/>
              <a:gd name="connsiteX47" fmla="*/ 1209675 w 3295650"/>
              <a:gd name="connsiteY47" fmla="*/ 629014 h 657822"/>
              <a:gd name="connsiteX48" fmla="*/ 1266825 w 3295650"/>
              <a:gd name="connsiteY48" fmla="*/ 609964 h 657822"/>
              <a:gd name="connsiteX49" fmla="*/ 1295400 w 3295650"/>
              <a:gd name="connsiteY49" fmla="*/ 638539 h 657822"/>
              <a:gd name="connsiteX50" fmla="*/ 1352550 w 3295650"/>
              <a:gd name="connsiteY50" fmla="*/ 638539 h 657822"/>
              <a:gd name="connsiteX51" fmla="*/ 1466850 w 3295650"/>
              <a:gd name="connsiteY51" fmla="*/ 638539 h 657822"/>
              <a:gd name="connsiteX52" fmla="*/ 1543050 w 3295650"/>
              <a:gd name="connsiteY52" fmla="*/ 619489 h 657822"/>
              <a:gd name="connsiteX53" fmla="*/ 1571625 w 3295650"/>
              <a:gd name="connsiteY53" fmla="*/ 638539 h 657822"/>
              <a:gd name="connsiteX54" fmla="*/ 1638300 w 3295650"/>
              <a:gd name="connsiteY54" fmla="*/ 629014 h 657822"/>
              <a:gd name="connsiteX55" fmla="*/ 1657350 w 3295650"/>
              <a:gd name="connsiteY55" fmla="*/ 638539 h 657822"/>
              <a:gd name="connsiteX56" fmla="*/ 1704975 w 3295650"/>
              <a:gd name="connsiteY56" fmla="*/ 629014 h 657822"/>
              <a:gd name="connsiteX57" fmla="*/ 1733550 w 3295650"/>
              <a:gd name="connsiteY57" fmla="*/ 648064 h 657822"/>
              <a:gd name="connsiteX58" fmla="*/ 1819275 w 3295650"/>
              <a:gd name="connsiteY58" fmla="*/ 629014 h 657822"/>
              <a:gd name="connsiteX59" fmla="*/ 1838325 w 3295650"/>
              <a:gd name="connsiteY59" fmla="*/ 657589 h 657822"/>
              <a:gd name="connsiteX60" fmla="*/ 1847850 w 3295650"/>
              <a:gd name="connsiteY60" fmla="*/ 609964 h 657822"/>
              <a:gd name="connsiteX61" fmla="*/ 1876425 w 3295650"/>
              <a:gd name="connsiteY61" fmla="*/ 609964 h 657822"/>
              <a:gd name="connsiteX62" fmla="*/ 1905000 w 3295650"/>
              <a:gd name="connsiteY62" fmla="*/ 657589 h 657822"/>
              <a:gd name="connsiteX63" fmla="*/ 1943100 w 3295650"/>
              <a:gd name="connsiteY63" fmla="*/ 619489 h 657822"/>
              <a:gd name="connsiteX64" fmla="*/ 2009775 w 3295650"/>
              <a:gd name="connsiteY64" fmla="*/ 619489 h 657822"/>
              <a:gd name="connsiteX65" fmla="*/ 2057400 w 3295650"/>
              <a:gd name="connsiteY65" fmla="*/ 619489 h 657822"/>
              <a:gd name="connsiteX66" fmla="*/ 2057400 w 3295650"/>
              <a:gd name="connsiteY66" fmla="*/ 657589 h 657822"/>
              <a:gd name="connsiteX67" fmla="*/ 2066925 w 3295650"/>
              <a:gd name="connsiteY67" fmla="*/ 600439 h 657822"/>
              <a:gd name="connsiteX68" fmla="*/ 2105025 w 3295650"/>
              <a:gd name="connsiteY68" fmla="*/ 629014 h 657822"/>
              <a:gd name="connsiteX69" fmla="*/ 2152650 w 3295650"/>
              <a:gd name="connsiteY69" fmla="*/ 619489 h 657822"/>
              <a:gd name="connsiteX70" fmla="*/ 2181225 w 3295650"/>
              <a:gd name="connsiteY70" fmla="*/ 638539 h 657822"/>
              <a:gd name="connsiteX71" fmla="*/ 2200275 w 3295650"/>
              <a:gd name="connsiteY71" fmla="*/ 609964 h 657822"/>
              <a:gd name="connsiteX72" fmla="*/ 2209800 w 3295650"/>
              <a:gd name="connsiteY72" fmla="*/ 638539 h 657822"/>
              <a:gd name="connsiteX73" fmla="*/ 2257425 w 3295650"/>
              <a:gd name="connsiteY73" fmla="*/ 600439 h 657822"/>
              <a:gd name="connsiteX74" fmla="*/ 2286000 w 3295650"/>
              <a:gd name="connsiteY74" fmla="*/ 609964 h 657822"/>
              <a:gd name="connsiteX75" fmla="*/ 2295525 w 3295650"/>
              <a:gd name="connsiteY75" fmla="*/ 581389 h 657822"/>
              <a:gd name="connsiteX76" fmla="*/ 2324100 w 3295650"/>
              <a:gd name="connsiteY76" fmla="*/ 638539 h 657822"/>
              <a:gd name="connsiteX77" fmla="*/ 2343150 w 3295650"/>
              <a:gd name="connsiteY77" fmla="*/ 619489 h 657822"/>
              <a:gd name="connsiteX78" fmla="*/ 2381250 w 3295650"/>
              <a:gd name="connsiteY78" fmla="*/ 648064 h 657822"/>
              <a:gd name="connsiteX79" fmla="*/ 2400300 w 3295650"/>
              <a:gd name="connsiteY79" fmla="*/ 609964 h 657822"/>
              <a:gd name="connsiteX80" fmla="*/ 2428875 w 3295650"/>
              <a:gd name="connsiteY80" fmla="*/ 638539 h 657822"/>
              <a:gd name="connsiteX81" fmla="*/ 2457450 w 3295650"/>
              <a:gd name="connsiteY81" fmla="*/ 638539 h 657822"/>
              <a:gd name="connsiteX82" fmla="*/ 2505075 w 3295650"/>
              <a:gd name="connsiteY82" fmla="*/ 638539 h 657822"/>
              <a:gd name="connsiteX83" fmla="*/ 2562225 w 3295650"/>
              <a:gd name="connsiteY83" fmla="*/ 600439 h 657822"/>
              <a:gd name="connsiteX84" fmla="*/ 2609850 w 3295650"/>
              <a:gd name="connsiteY84" fmla="*/ 648064 h 657822"/>
              <a:gd name="connsiteX85" fmla="*/ 2638425 w 3295650"/>
              <a:gd name="connsiteY85" fmla="*/ 648064 h 657822"/>
              <a:gd name="connsiteX86" fmla="*/ 2667000 w 3295650"/>
              <a:gd name="connsiteY86" fmla="*/ 609964 h 657822"/>
              <a:gd name="connsiteX87" fmla="*/ 2714625 w 3295650"/>
              <a:gd name="connsiteY87" fmla="*/ 638539 h 657822"/>
              <a:gd name="connsiteX88" fmla="*/ 2762250 w 3295650"/>
              <a:gd name="connsiteY88" fmla="*/ 629014 h 657822"/>
              <a:gd name="connsiteX89" fmla="*/ 2800350 w 3295650"/>
              <a:gd name="connsiteY89" fmla="*/ 609964 h 657822"/>
              <a:gd name="connsiteX90" fmla="*/ 2838450 w 3295650"/>
              <a:gd name="connsiteY90" fmla="*/ 619489 h 657822"/>
              <a:gd name="connsiteX91" fmla="*/ 2876550 w 3295650"/>
              <a:gd name="connsiteY91" fmla="*/ 571864 h 657822"/>
              <a:gd name="connsiteX92" fmla="*/ 2895600 w 3295650"/>
              <a:gd name="connsiteY92" fmla="*/ 552814 h 657822"/>
              <a:gd name="connsiteX93" fmla="*/ 2905125 w 3295650"/>
              <a:gd name="connsiteY93" fmla="*/ 581389 h 657822"/>
              <a:gd name="connsiteX94" fmla="*/ 2990850 w 3295650"/>
              <a:gd name="connsiteY94" fmla="*/ 505189 h 657822"/>
              <a:gd name="connsiteX95" fmla="*/ 3009900 w 3295650"/>
              <a:gd name="connsiteY95" fmla="*/ 543289 h 657822"/>
              <a:gd name="connsiteX96" fmla="*/ 3028950 w 3295650"/>
              <a:gd name="connsiteY96" fmla="*/ 419464 h 657822"/>
              <a:gd name="connsiteX97" fmla="*/ 3038475 w 3295650"/>
              <a:gd name="connsiteY97" fmla="*/ 428989 h 657822"/>
              <a:gd name="connsiteX98" fmla="*/ 3067050 w 3295650"/>
              <a:gd name="connsiteY98" fmla="*/ 352789 h 657822"/>
              <a:gd name="connsiteX99" fmla="*/ 3086100 w 3295650"/>
              <a:gd name="connsiteY99" fmla="*/ 352789 h 657822"/>
              <a:gd name="connsiteX100" fmla="*/ 3105150 w 3295650"/>
              <a:gd name="connsiteY100" fmla="*/ 276589 h 657822"/>
              <a:gd name="connsiteX101" fmla="*/ 3124200 w 3295650"/>
              <a:gd name="connsiteY101" fmla="*/ 248014 h 657822"/>
              <a:gd name="connsiteX102" fmla="*/ 3143250 w 3295650"/>
              <a:gd name="connsiteY102" fmla="*/ 152764 h 657822"/>
              <a:gd name="connsiteX103" fmla="*/ 3162300 w 3295650"/>
              <a:gd name="connsiteY103" fmla="*/ 238489 h 657822"/>
              <a:gd name="connsiteX104" fmla="*/ 3181350 w 3295650"/>
              <a:gd name="connsiteY104" fmla="*/ 295639 h 657822"/>
              <a:gd name="connsiteX105" fmla="*/ 3209925 w 3295650"/>
              <a:gd name="connsiteY105" fmla="*/ 343264 h 657822"/>
              <a:gd name="connsiteX106" fmla="*/ 3248025 w 3295650"/>
              <a:gd name="connsiteY106" fmla="*/ 381364 h 657822"/>
              <a:gd name="connsiteX107" fmla="*/ 3295650 w 3295650"/>
              <a:gd name="connsiteY107" fmla="*/ 419464 h 657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3295650" h="657822">
                <a:moveTo>
                  <a:pt x="0" y="448039"/>
                </a:moveTo>
                <a:cubicBezTo>
                  <a:pt x="16669" y="470264"/>
                  <a:pt x="33338" y="492489"/>
                  <a:pt x="47625" y="495664"/>
                </a:cubicBezTo>
                <a:cubicBezTo>
                  <a:pt x="61912" y="498839"/>
                  <a:pt x="74613" y="452802"/>
                  <a:pt x="85725" y="467089"/>
                </a:cubicBezTo>
                <a:cubicBezTo>
                  <a:pt x="96838" y="481377"/>
                  <a:pt x="104775" y="579802"/>
                  <a:pt x="114300" y="581389"/>
                </a:cubicBezTo>
                <a:cubicBezTo>
                  <a:pt x="123825" y="582977"/>
                  <a:pt x="134938" y="490901"/>
                  <a:pt x="142875" y="476614"/>
                </a:cubicBezTo>
                <a:cubicBezTo>
                  <a:pt x="150812" y="462327"/>
                  <a:pt x="153987" y="498839"/>
                  <a:pt x="161925" y="495664"/>
                </a:cubicBezTo>
                <a:cubicBezTo>
                  <a:pt x="169863" y="492489"/>
                  <a:pt x="180975" y="467089"/>
                  <a:pt x="190500" y="457564"/>
                </a:cubicBezTo>
                <a:cubicBezTo>
                  <a:pt x="200025" y="448039"/>
                  <a:pt x="211138" y="454389"/>
                  <a:pt x="219075" y="438514"/>
                </a:cubicBezTo>
                <a:cubicBezTo>
                  <a:pt x="227012" y="422639"/>
                  <a:pt x="230188" y="384539"/>
                  <a:pt x="238125" y="362314"/>
                </a:cubicBezTo>
                <a:cubicBezTo>
                  <a:pt x="246063" y="340089"/>
                  <a:pt x="266700" y="305164"/>
                  <a:pt x="266700" y="305164"/>
                </a:cubicBezTo>
                <a:cubicBezTo>
                  <a:pt x="274637" y="289289"/>
                  <a:pt x="279400" y="286114"/>
                  <a:pt x="285750" y="267064"/>
                </a:cubicBezTo>
                <a:cubicBezTo>
                  <a:pt x="292100" y="248014"/>
                  <a:pt x="295275" y="213089"/>
                  <a:pt x="304800" y="190864"/>
                </a:cubicBezTo>
                <a:cubicBezTo>
                  <a:pt x="314325" y="168639"/>
                  <a:pt x="331788" y="135301"/>
                  <a:pt x="342900" y="133714"/>
                </a:cubicBezTo>
                <a:cubicBezTo>
                  <a:pt x="354012" y="132127"/>
                  <a:pt x="366712" y="163876"/>
                  <a:pt x="371475" y="181339"/>
                </a:cubicBezTo>
                <a:cubicBezTo>
                  <a:pt x="376238" y="198802"/>
                  <a:pt x="366713" y="222614"/>
                  <a:pt x="371475" y="238489"/>
                </a:cubicBezTo>
                <a:cubicBezTo>
                  <a:pt x="376237" y="254364"/>
                  <a:pt x="393700" y="260714"/>
                  <a:pt x="400050" y="276589"/>
                </a:cubicBezTo>
                <a:cubicBezTo>
                  <a:pt x="406400" y="292464"/>
                  <a:pt x="404813" y="325801"/>
                  <a:pt x="409575" y="333739"/>
                </a:cubicBezTo>
                <a:cubicBezTo>
                  <a:pt x="414338" y="341676"/>
                  <a:pt x="422275" y="316277"/>
                  <a:pt x="428625" y="324214"/>
                </a:cubicBezTo>
                <a:cubicBezTo>
                  <a:pt x="434975" y="332151"/>
                  <a:pt x="439738" y="363902"/>
                  <a:pt x="447675" y="381364"/>
                </a:cubicBezTo>
                <a:cubicBezTo>
                  <a:pt x="455612" y="398826"/>
                  <a:pt x="468312" y="427401"/>
                  <a:pt x="476250" y="428989"/>
                </a:cubicBezTo>
                <a:cubicBezTo>
                  <a:pt x="484188" y="430577"/>
                  <a:pt x="490538" y="389302"/>
                  <a:pt x="495300" y="390889"/>
                </a:cubicBezTo>
                <a:cubicBezTo>
                  <a:pt x="500062" y="392476"/>
                  <a:pt x="500063" y="433752"/>
                  <a:pt x="504825" y="438514"/>
                </a:cubicBezTo>
                <a:cubicBezTo>
                  <a:pt x="509587" y="443276"/>
                  <a:pt x="515938" y="414701"/>
                  <a:pt x="523875" y="419464"/>
                </a:cubicBezTo>
                <a:cubicBezTo>
                  <a:pt x="531813" y="424226"/>
                  <a:pt x="546100" y="463914"/>
                  <a:pt x="552450" y="467089"/>
                </a:cubicBezTo>
                <a:cubicBezTo>
                  <a:pt x="558800" y="470264"/>
                  <a:pt x="554038" y="433751"/>
                  <a:pt x="561975" y="438514"/>
                </a:cubicBezTo>
                <a:cubicBezTo>
                  <a:pt x="569913" y="443276"/>
                  <a:pt x="592137" y="494076"/>
                  <a:pt x="600075" y="495664"/>
                </a:cubicBezTo>
                <a:cubicBezTo>
                  <a:pt x="608013" y="497252"/>
                  <a:pt x="600075" y="449627"/>
                  <a:pt x="609600" y="448039"/>
                </a:cubicBezTo>
                <a:cubicBezTo>
                  <a:pt x="619125" y="446451"/>
                  <a:pt x="642938" y="487726"/>
                  <a:pt x="657225" y="486139"/>
                </a:cubicBezTo>
                <a:cubicBezTo>
                  <a:pt x="671512" y="484552"/>
                  <a:pt x="685800" y="433751"/>
                  <a:pt x="695325" y="438514"/>
                </a:cubicBezTo>
                <a:cubicBezTo>
                  <a:pt x="704850" y="443277"/>
                  <a:pt x="703262" y="511539"/>
                  <a:pt x="714375" y="514714"/>
                </a:cubicBezTo>
                <a:cubicBezTo>
                  <a:pt x="725488" y="517889"/>
                  <a:pt x="750888" y="462326"/>
                  <a:pt x="762000" y="457564"/>
                </a:cubicBezTo>
                <a:cubicBezTo>
                  <a:pt x="773112" y="452802"/>
                  <a:pt x="777875" y="489314"/>
                  <a:pt x="781050" y="486139"/>
                </a:cubicBezTo>
                <a:cubicBezTo>
                  <a:pt x="784225" y="482964"/>
                  <a:pt x="776288" y="441689"/>
                  <a:pt x="781050" y="438514"/>
                </a:cubicBezTo>
                <a:cubicBezTo>
                  <a:pt x="785812" y="435339"/>
                  <a:pt x="803275" y="473439"/>
                  <a:pt x="809625" y="467089"/>
                </a:cubicBezTo>
                <a:cubicBezTo>
                  <a:pt x="815975" y="460739"/>
                  <a:pt x="814388" y="403589"/>
                  <a:pt x="819150" y="400414"/>
                </a:cubicBezTo>
                <a:cubicBezTo>
                  <a:pt x="823912" y="397239"/>
                  <a:pt x="833438" y="468676"/>
                  <a:pt x="838200" y="448039"/>
                </a:cubicBezTo>
                <a:cubicBezTo>
                  <a:pt x="842962" y="427402"/>
                  <a:pt x="842963" y="324214"/>
                  <a:pt x="847725" y="276589"/>
                </a:cubicBezTo>
                <a:cubicBezTo>
                  <a:pt x="852487" y="228964"/>
                  <a:pt x="862013" y="208326"/>
                  <a:pt x="866775" y="162289"/>
                </a:cubicBezTo>
                <a:cubicBezTo>
                  <a:pt x="871538" y="116251"/>
                  <a:pt x="869950" y="-7573"/>
                  <a:pt x="876300" y="364"/>
                </a:cubicBezTo>
                <a:cubicBezTo>
                  <a:pt x="882650" y="8301"/>
                  <a:pt x="900113" y="146414"/>
                  <a:pt x="904875" y="209914"/>
                </a:cubicBezTo>
                <a:cubicBezTo>
                  <a:pt x="909637" y="273414"/>
                  <a:pt x="900113" y="317864"/>
                  <a:pt x="904875" y="381364"/>
                </a:cubicBezTo>
                <a:cubicBezTo>
                  <a:pt x="909637" y="444864"/>
                  <a:pt x="925513" y="549639"/>
                  <a:pt x="933450" y="590914"/>
                </a:cubicBezTo>
                <a:cubicBezTo>
                  <a:pt x="941387" y="632189"/>
                  <a:pt x="944563" y="629014"/>
                  <a:pt x="952500" y="629014"/>
                </a:cubicBezTo>
                <a:cubicBezTo>
                  <a:pt x="960437" y="629014"/>
                  <a:pt x="969963" y="590914"/>
                  <a:pt x="981075" y="590914"/>
                </a:cubicBezTo>
                <a:cubicBezTo>
                  <a:pt x="992187" y="590914"/>
                  <a:pt x="1008062" y="625839"/>
                  <a:pt x="1019175" y="629014"/>
                </a:cubicBezTo>
                <a:cubicBezTo>
                  <a:pt x="1030288" y="632189"/>
                  <a:pt x="1035050" y="609964"/>
                  <a:pt x="1047750" y="609964"/>
                </a:cubicBezTo>
                <a:cubicBezTo>
                  <a:pt x="1060450" y="609964"/>
                  <a:pt x="1068387" y="625839"/>
                  <a:pt x="1095375" y="629014"/>
                </a:cubicBezTo>
                <a:cubicBezTo>
                  <a:pt x="1122363" y="632189"/>
                  <a:pt x="1181100" y="632189"/>
                  <a:pt x="1209675" y="629014"/>
                </a:cubicBezTo>
                <a:cubicBezTo>
                  <a:pt x="1238250" y="625839"/>
                  <a:pt x="1252538" y="608377"/>
                  <a:pt x="1266825" y="609964"/>
                </a:cubicBezTo>
                <a:cubicBezTo>
                  <a:pt x="1281112" y="611551"/>
                  <a:pt x="1281112" y="633776"/>
                  <a:pt x="1295400" y="638539"/>
                </a:cubicBezTo>
                <a:cubicBezTo>
                  <a:pt x="1309688" y="643302"/>
                  <a:pt x="1352550" y="638539"/>
                  <a:pt x="1352550" y="638539"/>
                </a:cubicBezTo>
                <a:cubicBezTo>
                  <a:pt x="1381125" y="638539"/>
                  <a:pt x="1435100" y="641714"/>
                  <a:pt x="1466850" y="638539"/>
                </a:cubicBezTo>
                <a:cubicBezTo>
                  <a:pt x="1498600" y="635364"/>
                  <a:pt x="1525588" y="619489"/>
                  <a:pt x="1543050" y="619489"/>
                </a:cubicBezTo>
                <a:cubicBezTo>
                  <a:pt x="1560512" y="619489"/>
                  <a:pt x="1555750" y="636952"/>
                  <a:pt x="1571625" y="638539"/>
                </a:cubicBezTo>
                <a:cubicBezTo>
                  <a:pt x="1587500" y="640127"/>
                  <a:pt x="1624013" y="629014"/>
                  <a:pt x="1638300" y="629014"/>
                </a:cubicBezTo>
                <a:cubicBezTo>
                  <a:pt x="1652587" y="629014"/>
                  <a:pt x="1646238" y="638539"/>
                  <a:pt x="1657350" y="638539"/>
                </a:cubicBezTo>
                <a:cubicBezTo>
                  <a:pt x="1668462" y="638539"/>
                  <a:pt x="1692275" y="627427"/>
                  <a:pt x="1704975" y="629014"/>
                </a:cubicBezTo>
                <a:cubicBezTo>
                  <a:pt x="1717675" y="630601"/>
                  <a:pt x="1714500" y="648064"/>
                  <a:pt x="1733550" y="648064"/>
                </a:cubicBezTo>
                <a:cubicBezTo>
                  <a:pt x="1752600" y="648064"/>
                  <a:pt x="1801813" y="627427"/>
                  <a:pt x="1819275" y="629014"/>
                </a:cubicBezTo>
                <a:cubicBezTo>
                  <a:pt x="1836737" y="630601"/>
                  <a:pt x="1833563" y="660764"/>
                  <a:pt x="1838325" y="657589"/>
                </a:cubicBezTo>
                <a:cubicBezTo>
                  <a:pt x="1843087" y="654414"/>
                  <a:pt x="1841500" y="617901"/>
                  <a:pt x="1847850" y="609964"/>
                </a:cubicBezTo>
                <a:cubicBezTo>
                  <a:pt x="1854200" y="602027"/>
                  <a:pt x="1866900" y="602027"/>
                  <a:pt x="1876425" y="609964"/>
                </a:cubicBezTo>
                <a:cubicBezTo>
                  <a:pt x="1885950" y="617901"/>
                  <a:pt x="1893888" y="656002"/>
                  <a:pt x="1905000" y="657589"/>
                </a:cubicBezTo>
                <a:cubicBezTo>
                  <a:pt x="1916112" y="659176"/>
                  <a:pt x="1925638" y="625839"/>
                  <a:pt x="1943100" y="619489"/>
                </a:cubicBezTo>
                <a:cubicBezTo>
                  <a:pt x="1960562" y="613139"/>
                  <a:pt x="2009775" y="619489"/>
                  <a:pt x="2009775" y="619489"/>
                </a:cubicBezTo>
                <a:cubicBezTo>
                  <a:pt x="2028825" y="619489"/>
                  <a:pt x="2049463" y="613139"/>
                  <a:pt x="2057400" y="619489"/>
                </a:cubicBezTo>
                <a:cubicBezTo>
                  <a:pt x="2065337" y="625839"/>
                  <a:pt x="2055813" y="660764"/>
                  <a:pt x="2057400" y="657589"/>
                </a:cubicBezTo>
                <a:cubicBezTo>
                  <a:pt x="2058987" y="654414"/>
                  <a:pt x="2058988" y="605202"/>
                  <a:pt x="2066925" y="600439"/>
                </a:cubicBezTo>
                <a:cubicBezTo>
                  <a:pt x="2074863" y="595677"/>
                  <a:pt x="2090738" y="625839"/>
                  <a:pt x="2105025" y="629014"/>
                </a:cubicBezTo>
                <a:cubicBezTo>
                  <a:pt x="2119312" y="632189"/>
                  <a:pt x="2139950" y="617902"/>
                  <a:pt x="2152650" y="619489"/>
                </a:cubicBezTo>
                <a:cubicBezTo>
                  <a:pt x="2165350" y="621076"/>
                  <a:pt x="2173287" y="640127"/>
                  <a:pt x="2181225" y="638539"/>
                </a:cubicBezTo>
                <a:cubicBezTo>
                  <a:pt x="2189163" y="636951"/>
                  <a:pt x="2195513" y="609964"/>
                  <a:pt x="2200275" y="609964"/>
                </a:cubicBezTo>
                <a:cubicBezTo>
                  <a:pt x="2205037" y="609964"/>
                  <a:pt x="2200275" y="640127"/>
                  <a:pt x="2209800" y="638539"/>
                </a:cubicBezTo>
                <a:cubicBezTo>
                  <a:pt x="2219325" y="636952"/>
                  <a:pt x="2244725" y="605202"/>
                  <a:pt x="2257425" y="600439"/>
                </a:cubicBezTo>
                <a:cubicBezTo>
                  <a:pt x="2270125" y="595676"/>
                  <a:pt x="2279650" y="613139"/>
                  <a:pt x="2286000" y="609964"/>
                </a:cubicBezTo>
                <a:cubicBezTo>
                  <a:pt x="2292350" y="606789"/>
                  <a:pt x="2289175" y="576627"/>
                  <a:pt x="2295525" y="581389"/>
                </a:cubicBezTo>
                <a:cubicBezTo>
                  <a:pt x="2301875" y="586151"/>
                  <a:pt x="2316163" y="632189"/>
                  <a:pt x="2324100" y="638539"/>
                </a:cubicBezTo>
                <a:cubicBezTo>
                  <a:pt x="2332037" y="644889"/>
                  <a:pt x="2333625" y="617902"/>
                  <a:pt x="2343150" y="619489"/>
                </a:cubicBezTo>
                <a:cubicBezTo>
                  <a:pt x="2352675" y="621077"/>
                  <a:pt x="2371725" y="649652"/>
                  <a:pt x="2381250" y="648064"/>
                </a:cubicBezTo>
                <a:cubicBezTo>
                  <a:pt x="2390775" y="646477"/>
                  <a:pt x="2392362" y="611552"/>
                  <a:pt x="2400300" y="609964"/>
                </a:cubicBezTo>
                <a:cubicBezTo>
                  <a:pt x="2408238" y="608376"/>
                  <a:pt x="2419350" y="633776"/>
                  <a:pt x="2428875" y="638539"/>
                </a:cubicBezTo>
                <a:cubicBezTo>
                  <a:pt x="2438400" y="643302"/>
                  <a:pt x="2457450" y="638539"/>
                  <a:pt x="2457450" y="638539"/>
                </a:cubicBezTo>
                <a:cubicBezTo>
                  <a:pt x="2470150" y="638539"/>
                  <a:pt x="2487613" y="644889"/>
                  <a:pt x="2505075" y="638539"/>
                </a:cubicBezTo>
                <a:cubicBezTo>
                  <a:pt x="2522537" y="632189"/>
                  <a:pt x="2544763" y="598852"/>
                  <a:pt x="2562225" y="600439"/>
                </a:cubicBezTo>
                <a:cubicBezTo>
                  <a:pt x="2579687" y="602026"/>
                  <a:pt x="2597150" y="640127"/>
                  <a:pt x="2609850" y="648064"/>
                </a:cubicBezTo>
                <a:cubicBezTo>
                  <a:pt x="2622550" y="656001"/>
                  <a:pt x="2628900" y="654414"/>
                  <a:pt x="2638425" y="648064"/>
                </a:cubicBezTo>
                <a:cubicBezTo>
                  <a:pt x="2647950" y="641714"/>
                  <a:pt x="2654300" y="611551"/>
                  <a:pt x="2667000" y="609964"/>
                </a:cubicBezTo>
                <a:cubicBezTo>
                  <a:pt x="2679700" y="608377"/>
                  <a:pt x="2698750" y="635364"/>
                  <a:pt x="2714625" y="638539"/>
                </a:cubicBezTo>
                <a:cubicBezTo>
                  <a:pt x="2730500" y="641714"/>
                  <a:pt x="2747962" y="633777"/>
                  <a:pt x="2762250" y="629014"/>
                </a:cubicBezTo>
                <a:cubicBezTo>
                  <a:pt x="2776538" y="624251"/>
                  <a:pt x="2787650" y="611551"/>
                  <a:pt x="2800350" y="609964"/>
                </a:cubicBezTo>
                <a:cubicBezTo>
                  <a:pt x="2813050" y="608377"/>
                  <a:pt x="2825750" y="625839"/>
                  <a:pt x="2838450" y="619489"/>
                </a:cubicBezTo>
                <a:cubicBezTo>
                  <a:pt x="2851150" y="613139"/>
                  <a:pt x="2867025" y="582977"/>
                  <a:pt x="2876550" y="571864"/>
                </a:cubicBezTo>
                <a:cubicBezTo>
                  <a:pt x="2886075" y="560752"/>
                  <a:pt x="2890838" y="551227"/>
                  <a:pt x="2895600" y="552814"/>
                </a:cubicBezTo>
                <a:cubicBezTo>
                  <a:pt x="2900362" y="554401"/>
                  <a:pt x="2889250" y="589326"/>
                  <a:pt x="2905125" y="581389"/>
                </a:cubicBezTo>
                <a:cubicBezTo>
                  <a:pt x="2921000" y="573452"/>
                  <a:pt x="2973388" y="511539"/>
                  <a:pt x="2990850" y="505189"/>
                </a:cubicBezTo>
                <a:cubicBezTo>
                  <a:pt x="3008312" y="498839"/>
                  <a:pt x="3003550" y="557577"/>
                  <a:pt x="3009900" y="543289"/>
                </a:cubicBezTo>
                <a:cubicBezTo>
                  <a:pt x="3016250" y="529001"/>
                  <a:pt x="3024188" y="438514"/>
                  <a:pt x="3028950" y="419464"/>
                </a:cubicBezTo>
                <a:cubicBezTo>
                  <a:pt x="3033712" y="400414"/>
                  <a:pt x="3032125" y="440101"/>
                  <a:pt x="3038475" y="428989"/>
                </a:cubicBezTo>
                <a:cubicBezTo>
                  <a:pt x="3044825" y="417877"/>
                  <a:pt x="3059113" y="365489"/>
                  <a:pt x="3067050" y="352789"/>
                </a:cubicBezTo>
                <a:cubicBezTo>
                  <a:pt x="3074987" y="340089"/>
                  <a:pt x="3079750" y="365489"/>
                  <a:pt x="3086100" y="352789"/>
                </a:cubicBezTo>
                <a:cubicBezTo>
                  <a:pt x="3092450" y="340089"/>
                  <a:pt x="3098800" y="294051"/>
                  <a:pt x="3105150" y="276589"/>
                </a:cubicBezTo>
                <a:cubicBezTo>
                  <a:pt x="3111500" y="259127"/>
                  <a:pt x="3117850" y="268651"/>
                  <a:pt x="3124200" y="248014"/>
                </a:cubicBezTo>
                <a:cubicBezTo>
                  <a:pt x="3130550" y="227377"/>
                  <a:pt x="3136900" y="154351"/>
                  <a:pt x="3143250" y="152764"/>
                </a:cubicBezTo>
                <a:cubicBezTo>
                  <a:pt x="3149600" y="151176"/>
                  <a:pt x="3155950" y="214677"/>
                  <a:pt x="3162300" y="238489"/>
                </a:cubicBezTo>
                <a:cubicBezTo>
                  <a:pt x="3168650" y="262301"/>
                  <a:pt x="3173413" y="278177"/>
                  <a:pt x="3181350" y="295639"/>
                </a:cubicBezTo>
                <a:cubicBezTo>
                  <a:pt x="3189287" y="313101"/>
                  <a:pt x="3198813" y="328976"/>
                  <a:pt x="3209925" y="343264"/>
                </a:cubicBezTo>
                <a:cubicBezTo>
                  <a:pt x="3221038" y="357551"/>
                  <a:pt x="3233738" y="368664"/>
                  <a:pt x="3248025" y="381364"/>
                </a:cubicBezTo>
                <a:cubicBezTo>
                  <a:pt x="3262313" y="394064"/>
                  <a:pt x="3278981" y="406764"/>
                  <a:pt x="3295650" y="419464"/>
                </a:cubicBezTo>
              </a:path>
            </a:pathLst>
          </a:custGeom>
          <a:ln w="19050">
            <a:solidFill>
              <a:srgbClr val="00B050"/>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2813" fontAlgn="base">
              <a:spcBef>
                <a:spcPct val="0"/>
              </a:spcBef>
              <a:spcAft>
                <a:spcPct val="0"/>
              </a:spcAft>
            </a:pPr>
            <a:endParaRPr lang="en-US">
              <a:solidFill>
                <a:srgbClr val="292929"/>
              </a:solidFill>
            </a:endParaRPr>
          </a:p>
        </p:txBody>
      </p:sp>
      <p:sp>
        <p:nvSpPr>
          <p:cNvPr id="19" name="Freeform 18"/>
          <p:cNvSpPr/>
          <p:nvPr/>
        </p:nvSpPr>
        <p:spPr>
          <a:xfrm>
            <a:off x="6357521" y="4657365"/>
            <a:ext cx="3957969" cy="685800"/>
          </a:xfrm>
          <a:custGeom>
            <a:avLst/>
            <a:gdLst>
              <a:gd name="connsiteX0" fmla="*/ 0 w 3295650"/>
              <a:gd name="connsiteY0" fmla="*/ 657225 h 685800"/>
              <a:gd name="connsiteX1" fmla="*/ 66675 w 3295650"/>
              <a:gd name="connsiteY1" fmla="*/ 657225 h 685800"/>
              <a:gd name="connsiteX2" fmla="*/ 95250 w 3295650"/>
              <a:gd name="connsiteY2" fmla="*/ 619125 h 685800"/>
              <a:gd name="connsiteX3" fmla="*/ 123825 w 3295650"/>
              <a:gd name="connsiteY3" fmla="*/ 628650 h 685800"/>
              <a:gd name="connsiteX4" fmla="*/ 152400 w 3295650"/>
              <a:gd name="connsiteY4" fmla="*/ 590550 h 685800"/>
              <a:gd name="connsiteX5" fmla="*/ 152400 w 3295650"/>
              <a:gd name="connsiteY5" fmla="*/ 552450 h 685800"/>
              <a:gd name="connsiteX6" fmla="*/ 171450 w 3295650"/>
              <a:gd name="connsiteY6" fmla="*/ 571500 h 685800"/>
              <a:gd name="connsiteX7" fmla="*/ 200025 w 3295650"/>
              <a:gd name="connsiteY7" fmla="*/ 533400 h 685800"/>
              <a:gd name="connsiteX8" fmla="*/ 209550 w 3295650"/>
              <a:gd name="connsiteY8" fmla="*/ 552450 h 685800"/>
              <a:gd name="connsiteX9" fmla="*/ 228600 w 3295650"/>
              <a:gd name="connsiteY9" fmla="*/ 523875 h 685800"/>
              <a:gd name="connsiteX10" fmla="*/ 247650 w 3295650"/>
              <a:gd name="connsiteY10" fmla="*/ 533400 h 685800"/>
              <a:gd name="connsiteX11" fmla="*/ 247650 w 3295650"/>
              <a:gd name="connsiteY11" fmla="*/ 419100 h 685800"/>
              <a:gd name="connsiteX12" fmla="*/ 247650 w 3295650"/>
              <a:gd name="connsiteY12" fmla="*/ 352425 h 685800"/>
              <a:gd name="connsiteX13" fmla="*/ 276225 w 3295650"/>
              <a:gd name="connsiteY13" fmla="*/ 266700 h 685800"/>
              <a:gd name="connsiteX14" fmla="*/ 295275 w 3295650"/>
              <a:gd name="connsiteY14" fmla="*/ 266700 h 685800"/>
              <a:gd name="connsiteX15" fmla="*/ 295275 w 3295650"/>
              <a:gd name="connsiteY15" fmla="*/ 85725 h 685800"/>
              <a:gd name="connsiteX16" fmla="*/ 323850 w 3295650"/>
              <a:gd name="connsiteY16" fmla="*/ 0 h 685800"/>
              <a:gd name="connsiteX17" fmla="*/ 342900 w 3295650"/>
              <a:gd name="connsiteY17" fmla="*/ 85725 h 685800"/>
              <a:gd name="connsiteX18" fmla="*/ 342900 w 3295650"/>
              <a:gd name="connsiteY18" fmla="*/ 219075 h 685800"/>
              <a:gd name="connsiteX19" fmla="*/ 352425 w 3295650"/>
              <a:gd name="connsiteY19" fmla="*/ 314325 h 685800"/>
              <a:gd name="connsiteX20" fmla="*/ 361950 w 3295650"/>
              <a:gd name="connsiteY20" fmla="*/ 409575 h 685800"/>
              <a:gd name="connsiteX21" fmla="*/ 371475 w 3295650"/>
              <a:gd name="connsiteY21" fmla="*/ 295275 h 685800"/>
              <a:gd name="connsiteX22" fmla="*/ 409575 w 3295650"/>
              <a:gd name="connsiteY22" fmla="*/ 428625 h 685800"/>
              <a:gd name="connsiteX23" fmla="*/ 428625 w 3295650"/>
              <a:gd name="connsiteY23" fmla="*/ 371475 h 685800"/>
              <a:gd name="connsiteX24" fmla="*/ 447675 w 3295650"/>
              <a:gd name="connsiteY24" fmla="*/ 438150 h 685800"/>
              <a:gd name="connsiteX25" fmla="*/ 485775 w 3295650"/>
              <a:gd name="connsiteY25" fmla="*/ 400050 h 685800"/>
              <a:gd name="connsiteX26" fmla="*/ 504825 w 3295650"/>
              <a:gd name="connsiteY26" fmla="*/ 476250 h 685800"/>
              <a:gd name="connsiteX27" fmla="*/ 523875 w 3295650"/>
              <a:gd name="connsiteY27" fmla="*/ 428625 h 685800"/>
              <a:gd name="connsiteX28" fmla="*/ 561975 w 3295650"/>
              <a:gd name="connsiteY28" fmla="*/ 533400 h 685800"/>
              <a:gd name="connsiteX29" fmla="*/ 600075 w 3295650"/>
              <a:gd name="connsiteY29" fmla="*/ 485775 h 685800"/>
              <a:gd name="connsiteX30" fmla="*/ 619125 w 3295650"/>
              <a:gd name="connsiteY30" fmla="*/ 552450 h 685800"/>
              <a:gd name="connsiteX31" fmla="*/ 647700 w 3295650"/>
              <a:gd name="connsiteY31" fmla="*/ 504825 h 685800"/>
              <a:gd name="connsiteX32" fmla="*/ 704850 w 3295650"/>
              <a:gd name="connsiteY32" fmla="*/ 552450 h 685800"/>
              <a:gd name="connsiteX33" fmla="*/ 742950 w 3295650"/>
              <a:gd name="connsiteY33" fmla="*/ 485775 h 685800"/>
              <a:gd name="connsiteX34" fmla="*/ 752475 w 3295650"/>
              <a:gd name="connsiteY34" fmla="*/ 523875 h 685800"/>
              <a:gd name="connsiteX35" fmla="*/ 781050 w 3295650"/>
              <a:gd name="connsiteY35" fmla="*/ 438150 h 685800"/>
              <a:gd name="connsiteX36" fmla="*/ 809625 w 3295650"/>
              <a:gd name="connsiteY36" fmla="*/ 504825 h 685800"/>
              <a:gd name="connsiteX37" fmla="*/ 819150 w 3295650"/>
              <a:gd name="connsiteY37" fmla="*/ 428625 h 685800"/>
              <a:gd name="connsiteX38" fmla="*/ 828675 w 3295650"/>
              <a:gd name="connsiteY38" fmla="*/ 495300 h 685800"/>
              <a:gd name="connsiteX39" fmla="*/ 847725 w 3295650"/>
              <a:gd name="connsiteY39" fmla="*/ 371475 h 685800"/>
              <a:gd name="connsiteX40" fmla="*/ 866775 w 3295650"/>
              <a:gd name="connsiteY40" fmla="*/ 266700 h 685800"/>
              <a:gd name="connsiteX41" fmla="*/ 885825 w 3295650"/>
              <a:gd name="connsiteY41" fmla="*/ 180975 h 685800"/>
              <a:gd name="connsiteX42" fmla="*/ 895350 w 3295650"/>
              <a:gd name="connsiteY42" fmla="*/ 428625 h 685800"/>
              <a:gd name="connsiteX43" fmla="*/ 914400 w 3295650"/>
              <a:gd name="connsiteY43" fmla="*/ 571500 h 685800"/>
              <a:gd name="connsiteX44" fmla="*/ 942975 w 3295650"/>
              <a:gd name="connsiteY44" fmla="*/ 647700 h 685800"/>
              <a:gd name="connsiteX45" fmla="*/ 981075 w 3295650"/>
              <a:gd name="connsiteY45" fmla="*/ 609600 h 685800"/>
              <a:gd name="connsiteX46" fmla="*/ 1009650 w 3295650"/>
              <a:gd name="connsiteY46" fmla="*/ 666750 h 685800"/>
              <a:gd name="connsiteX47" fmla="*/ 1047750 w 3295650"/>
              <a:gd name="connsiteY47" fmla="*/ 609600 h 685800"/>
              <a:gd name="connsiteX48" fmla="*/ 1066800 w 3295650"/>
              <a:gd name="connsiteY48" fmla="*/ 657225 h 685800"/>
              <a:gd name="connsiteX49" fmla="*/ 1200150 w 3295650"/>
              <a:gd name="connsiteY49" fmla="*/ 647700 h 685800"/>
              <a:gd name="connsiteX50" fmla="*/ 1238250 w 3295650"/>
              <a:gd name="connsiteY50" fmla="*/ 647700 h 685800"/>
              <a:gd name="connsiteX51" fmla="*/ 1285875 w 3295650"/>
              <a:gd name="connsiteY51" fmla="*/ 628650 h 685800"/>
              <a:gd name="connsiteX52" fmla="*/ 1333500 w 3295650"/>
              <a:gd name="connsiteY52" fmla="*/ 657225 h 685800"/>
              <a:gd name="connsiteX53" fmla="*/ 1476375 w 3295650"/>
              <a:gd name="connsiteY53" fmla="*/ 647700 h 685800"/>
              <a:gd name="connsiteX54" fmla="*/ 1495425 w 3295650"/>
              <a:gd name="connsiteY54" fmla="*/ 628650 h 685800"/>
              <a:gd name="connsiteX55" fmla="*/ 1543050 w 3295650"/>
              <a:gd name="connsiteY55" fmla="*/ 657225 h 685800"/>
              <a:gd name="connsiteX56" fmla="*/ 1590675 w 3295650"/>
              <a:gd name="connsiteY56" fmla="*/ 647700 h 685800"/>
              <a:gd name="connsiteX57" fmla="*/ 1695450 w 3295650"/>
              <a:gd name="connsiteY57" fmla="*/ 638175 h 685800"/>
              <a:gd name="connsiteX58" fmla="*/ 1733550 w 3295650"/>
              <a:gd name="connsiteY58" fmla="*/ 666750 h 685800"/>
              <a:gd name="connsiteX59" fmla="*/ 1838325 w 3295650"/>
              <a:gd name="connsiteY59" fmla="*/ 657225 h 685800"/>
              <a:gd name="connsiteX60" fmla="*/ 1866900 w 3295650"/>
              <a:gd name="connsiteY60" fmla="*/ 647700 h 685800"/>
              <a:gd name="connsiteX61" fmla="*/ 1895475 w 3295650"/>
              <a:gd name="connsiteY61" fmla="*/ 676275 h 685800"/>
              <a:gd name="connsiteX62" fmla="*/ 1952625 w 3295650"/>
              <a:gd name="connsiteY62" fmla="*/ 638175 h 685800"/>
              <a:gd name="connsiteX63" fmla="*/ 2047875 w 3295650"/>
              <a:gd name="connsiteY63" fmla="*/ 638175 h 685800"/>
              <a:gd name="connsiteX64" fmla="*/ 2057400 w 3295650"/>
              <a:gd name="connsiteY64" fmla="*/ 685800 h 685800"/>
              <a:gd name="connsiteX65" fmla="*/ 2066925 w 3295650"/>
              <a:gd name="connsiteY65" fmla="*/ 638175 h 685800"/>
              <a:gd name="connsiteX66" fmla="*/ 2114550 w 3295650"/>
              <a:gd name="connsiteY66" fmla="*/ 628650 h 685800"/>
              <a:gd name="connsiteX67" fmla="*/ 2181225 w 3295650"/>
              <a:gd name="connsiteY67" fmla="*/ 638175 h 685800"/>
              <a:gd name="connsiteX68" fmla="*/ 2200275 w 3295650"/>
              <a:gd name="connsiteY68" fmla="*/ 666750 h 685800"/>
              <a:gd name="connsiteX69" fmla="*/ 2219325 w 3295650"/>
              <a:gd name="connsiteY69" fmla="*/ 666750 h 685800"/>
              <a:gd name="connsiteX70" fmla="*/ 2228850 w 3295650"/>
              <a:gd name="connsiteY70" fmla="*/ 638175 h 685800"/>
              <a:gd name="connsiteX71" fmla="*/ 2266950 w 3295650"/>
              <a:gd name="connsiteY71" fmla="*/ 666750 h 685800"/>
              <a:gd name="connsiteX72" fmla="*/ 2305050 w 3295650"/>
              <a:gd name="connsiteY72" fmla="*/ 666750 h 685800"/>
              <a:gd name="connsiteX73" fmla="*/ 2333625 w 3295650"/>
              <a:gd name="connsiteY73" fmla="*/ 628650 h 685800"/>
              <a:gd name="connsiteX74" fmla="*/ 2390775 w 3295650"/>
              <a:gd name="connsiteY74" fmla="*/ 647700 h 685800"/>
              <a:gd name="connsiteX75" fmla="*/ 2409825 w 3295650"/>
              <a:gd name="connsiteY75" fmla="*/ 628650 h 685800"/>
              <a:gd name="connsiteX76" fmla="*/ 2466975 w 3295650"/>
              <a:gd name="connsiteY76" fmla="*/ 657225 h 685800"/>
              <a:gd name="connsiteX77" fmla="*/ 2533650 w 3295650"/>
              <a:gd name="connsiteY77" fmla="*/ 657225 h 685800"/>
              <a:gd name="connsiteX78" fmla="*/ 2552700 w 3295650"/>
              <a:gd name="connsiteY78" fmla="*/ 628650 h 685800"/>
              <a:gd name="connsiteX79" fmla="*/ 2590800 w 3295650"/>
              <a:gd name="connsiteY79" fmla="*/ 657225 h 685800"/>
              <a:gd name="connsiteX80" fmla="*/ 2619375 w 3295650"/>
              <a:gd name="connsiteY80" fmla="*/ 657225 h 685800"/>
              <a:gd name="connsiteX81" fmla="*/ 2676525 w 3295650"/>
              <a:gd name="connsiteY81" fmla="*/ 628650 h 685800"/>
              <a:gd name="connsiteX82" fmla="*/ 2724150 w 3295650"/>
              <a:gd name="connsiteY82" fmla="*/ 657225 h 685800"/>
              <a:gd name="connsiteX83" fmla="*/ 2771775 w 3295650"/>
              <a:gd name="connsiteY83" fmla="*/ 647700 h 685800"/>
              <a:gd name="connsiteX84" fmla="*/ 2828925 w 3295650"/>
              <a:gd name="connsiteY84" fmla="*/ 657225 h 685800"/>
              <a:gd name="connsiteX85" fmla="*/ 2905125 w 3295650"/>
              <a:gd name="connsiteY85" fmla="*/ 657225 h 685800"/>
              <a:gd name="connsiteX86" fmla="*/ 2924175 w 3295650"/>
              <a:gd name="connsiteY86" fmla="*/ 600075 h 685800"/>
              <a:gd name="connsiteX87" fmla="*/ 2952750 w 3295650"/>
              <a:gd name="connsiteY87" fmla="*/ 628650 h 685800"/>
              <a:gd name="connsiteX88" fmla="*/ 3019425 w 3295650"/>
              <a:gd name="connsiteY88" fmla="*/ 628650 h 685800"/>
              <a:gd name="connsiteX89" fmla="*/ 3019425 w 3295650"/>
              <a:gd name="connsiteY89" fmla="*/ 581025 h 685800"/>
              <a:gd name="connsiteX90" fmla="*/ 3048000 w 3295650"/>
              <a:gd name="connsiteY90" fmla="*/ 590550 h 685800"/>
              <a:gd name="connsiteX91" fmla="*/ 3067050 w 3295650"/>
              <a:gd name="connsiteY91" fmla="*/ 561975 h 685800"/>
              <a:gd name="connsiteX92" fmla="*/ 3105150 w 3295650"/>
              <a:gd name="connsiteY92" fmla="*/ 561975 h 685800"/>
              <a:gd name="connsiteX93" fmla="*/ 3114675 w 3295650"/>
              <a:gd name="connsiteY93" fmla="*/ 523875 h 685800"/>
              <a:gd name="connsiteX94" fmla="*/ 3124200 w 3295650"/>
              <a:gd name="connsiteY94" fmla="*/ 476250 h 685800"/>
              <a:gd name="connsiteX95" fmla="*/ 3143250 w 3295650"/>
              <a:gd name="connsiteY95" fmla="*/ 438150 h 685800"/>
              <a:gd name="connsiteX96" fmla="*/ 3200400 w 3295650"/>
              <a:gd name="connsiteY96" fmla="*/ 485775 h 685800"/>
              <a:gd name="connsiteX97" fmla="*/ 3238500 w 3295650"/>
              <a:gd name="connsiteY97" fmla="*/ 542925 h 685800"/>
              <a:gd name="connsiteX98" fmla="*/ 3276600 w 3295650"/>
              <a:gd name="connsiteY98" fmla="*/ 514350 h 685800"/>
              <a:gd name="connsiteX99" fmla="*/ 3295650 w 3295650"/>
              <a:gd name="connsiteY99" fmla="*/ 561975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3295650" h="685800">
                <a:moveTo>
                  <a:pt x="0" y="657225"/>
                </a:moveTo>
                <a:cubicBezTo>
                  <a:pt x="25400" y="660400"/>
                  <a:pt x="50800" y="663575"/>
                  <a:pt x="66675" y="657225"/>
                </a:cubicBezTo>
                <a:cubicBezTo>
                  <a:pt x="82550" y="650875"/>
                  <a:pt x="85725" y="623888"/>
                  <a:pt x="95250" y="619125"/>
                </a:cubicBezTo>
                <a:cubicBezTo>
                  <a:pt x="104775" y="614362"/>
                  <a:pt x="114300" y="633413"/>
                  <a:pt x="123825" y="628650"/>
                </a:cubicBezTo>
                <a:cubicBezTo>
                  <a:pt x="133350" y="623887"/>
                  <a:pt x="147637" y="603250"/>
                  <a:pt x="152400" y="590550"/>
                </a:cubicBezTo>
                <a:cubicBezTo>
                  <a:pt x="157163" y="577850"/>
                  <a:pt x="149225" y="555625"/>
                  <a:pt x="152400" y="552450"/>
                </a:cubicBezTo>
                <a:cubicBezTo>
                  <a:pt x="155575" y="549275"/>
                  <a:pt x="163512" y="574675"/>
                  <a:pt x="171450" y="571500"/>
                </a:cubicBezTo>
                <a:cubicBezTo>
                  <a:pt x="179388" y="568325"/>
                  <a:pt x="193675" y="536575"/>
                  <a:pt x="200025" y="533400"/>
                </a:cubicBezTo>
                <a:cubicBezTo>
                  <a:pt x="206375" y="530225"/>
                  <a:pt x="204788" y="554037"/>
                  <a:pt x="209550" y="552450"/>
                </a:cubicBezTo>
                <a:cubicBezTo>
                  <a:pt x="214312" y="550863"/>
                  <a:pt x="222250" y="527050"/>
                  <a:pt x="228600" y="523875"/>
                </a:cubicBezTo>
                <a:cubicBezTo>
                  <a:pt x="234950" y="520700"/>
                  <a:pt x="244475" y="550862"/>
                  <a:pt x="247650" y="533400"/>
                </a:cubicBezTo>
                <a:cubicBezTo>
                  <a:pt x="250825" y="515937"/>
                  <a:pt x="247650" y="419100"/>
                  <a:pt x="247650" y="419100"/>
                </a:cubicBezTo>
                <a:cubicBezTo>
                  <a:pt x="247650" y="388938"/>
                  <a:pt x="242888" y="377825"/>
                  <a:pt x="247650" y="352425"/>
                </a:cubicBezTo>
                <a:cubicBezTo>
                  <a:pt x="252412" y="327025"/>
                  <a:pt x="268288" y="280987"/>
                  <a:pt x="276225" y="266700"/>
                </a:cubicBezTo>
                <a:cubicBezTo>
                  <a:pt x="284162" y="252413"/>
                  <a:pt x="292100" y="296863"/>
                  <a:pt x="295275" y="266700"/>
                </a:cubicBezTo>
                <a:cubicBezTo>
                  <a:pt x="298450" y="236537"/>
                  <a:pt x="290513" y="130175"/>
                  <a:pt x="295275" y="85725"/>
                </a:cubicBezTo>
                <a:cubicBezTo>
                  <a:pt x="300038" y="41275"/>
                  <a:pt x="315913" y="0"/>
                  <a:pt x="323850" y="0"/>
                </a:cubicBezTo>
                <a:cubicBezTo>
                  <a:pt x="331787" y="0"/>
                  <a:pt x="339725" y="49213"/>
                  <a:pt x="342900" y="85725"/>
                </a:cubicBezTo>
                <a:cubicBezTo>
                  <a:pt x="346075" y="122237"/>
                  <a:pt x="341312" y="180975"/>
                  <a:pt x="342900" y="219075"/>
                </a:cubicBezTo>
                <a:cubicBezTo>
                  <a:pt x="344488" y="257175"/>
                  <a:pt x="352425" y="314325"/>
                  <a:pt x="352425" y="314325"/>
                </a:cubicBezTo>
                <a:cubicBezTo>
                  <a:pt x="355600" y="346075"/>
                  <a:pt x="358775" y="412750"/>
                  <a:pt x="361950" y="409575"/>
                </a:cubicBezTo>
                <a:cubicBezTo>
                  <a:pt x="365125" y="406400"/>
                  <a:pt x="363537" y="292100"/>
                  <a:pt x="371475" y="295275"/>
                </a:cubicBezTo>
                <a:cubicBezTo>
                  <a:pt x="379413" y="298450"/>
                  <a:pt x="400050" y="415925"/>
                  <a:pt x="409575" y="428625"/>
                </a:cubicBezTo>
                <a:cubicBezTo>
                  <a:pt x="419100" y="441325"/>
                  <a:pt x="422275" y="369887"/>
                  <a:pt x="428625" y="371475"/>
                </a:cubicBezTo>
                <a:cubicBezTo>
                  <a:pt x="434975" y="373062"/>
                  <a:pt x="438150" y="433387"/>
                  <a:pt x="447675" y="438150"/>
                </a:cubicBezTo>
                <a:cubicBezTo>
                  <a:pt x="457200" y="442913"/>
                  <a:pt x="476250" y="393700"/>
                  <a:pt x="485775" y="400050"/>
                </a:cubicBezTo>
                <a:cubicBezTo>
                  <a:pt x="495300" y="406400"/>
                  <a:pt x="498475" y="471488"/>
                  <a:pt x="504825" y="476250"/>
                </a:cubicBezTo>
                <a:cubicBezTo>
                  <a:pt x="511175" y="481012"/>
                  <a:pt x="514350" y="419100"/>
                  <a:pt x="523875" y="428625"/>
                </a:cubicBezTo>
                <a:cubicBezTo>
                  <a:pt x="533400" y="438150"/>
                  <a:pt x="549275" y="523875"/>
                  <a:pt x="561975" y="533400"/>
                </a:cubicBezTo>
                <a:cubicBezTo>
                  <a:pt x="574675" y="542925"/>
                  <a:pt x="590550" y="482600"/>
                  <a:pt x="600075" y="485775"/>
                </a:cubicBezTo>
                <a:cubicBezTo>
                  <a:pt x="609600" y="488950"/>
                  <a:pt x="611187" y="549275"/>
                  <a:pt x="619125" y="552450"/>
                </a:cubicBezTo>
                <a:cubicBezTo>
                  <a:pt x="627063" y="555625"/>
                  <a:pt x="633413" y="504825"/>
                  <a:pt x="647700" y="504825"/>
                </a:cubicBezTo>
                <a:cubicBezTo>
                  <a:pt x="661987" y="504825"/>
                  <a:pt x="688975" y="555625"/>
                  <a:pt x="704850" y="552450"/>
                </a:cubicBezTo>
                <a:cubicBezTo>
                  <a:pt x="720725" y="549275"/>
                  <a:pt x="735013" y="490537"/>
                  <a:pt x="742950" y="485775"/>
                </a:cubicBezTo>
                <a:cubicBezTo>
                  <a:pt x="750888" y="481012"/>
                  <a:pt x="746125" y="531812"/>
                  <a:pt x="752475" y="523875"/>
                </a:cubicBezTo>
                <a:cubicBezTo>
                  <a:pt x="758825" y="515938"/>
                  <a:pt x="771525" y="441325"/>
                  <a:pt x="781050" y="438150"/>
                </a:cubicBezTo>
                <a:cubicBezTo>
                  <a:pt x="790575" y="434975"/>
                  <a:pt x="803275" y="506412"/>
                  <a:pt x="809625" y="504825"/>
                </a:cubicBezTo>
                <a:cubicBezTo>
                  <a:pt x="815975" y="503237"/>
                  <a:pt x="815975" y="430212"/>
                  <a:pt x="819150" y="428625"/>
                </a:cubicBezTo>
                <a:cubicBezTo>
                  <a:pt x="822325" y="427038"/>
                  <a:pt x="823912" y="504825"/>
                  <a:pt x="828675" y="495300"/>
                </a:cubicBezTo>
                <a:cubicBezTo>
                  <a:pt x="833438" y="485775"/>
                  <a:pt x="841375" y="409575"/>
                  <a:pt x="847725" y="371475"/>
                </a:cubicBezTo>
                <a:cubicBezTo>
                  <a:pt x="854075" y="333375"/>
                  <a:pt x="860425" y="298450"/>
                  <a:pt x="866775" y="266700"/>
                </a:cubicBezTo>
                <a:cubicBezTo>
                  <a:pt x="873125" y="234950"/>
                  <a:pt x="881063" y="153988"/>
                  <a:pt x="885825" y="180975"/>
                </a:cubicBezTo>
                <a:cubicBezTo>
                  <a:pt x="890587" y="207962"/>
                  <a:pt x="890588" y="363538"/>
                  <a:pt x="895350" y="428625"/>
                </a:cubicBezTo>
                <a:cubicBezTo>
                  <a:pt x="900112" y="493712"/>
                  <a:pt x="906463" y="534988"/>
                  <a:pt x="914400" y="571500"/>
                </a:cubicBezTo>
                <a:cubicBezTo>
                  <a:pt x="922337" y="608012"/>
                  <a:pt x="931863" y="641350"/>
                  <a:pt x="942975" y="647700"/>
                </a:cubicBezTo>
                <a:cubicBezTo>
                  <a:pt x="954087" y="654050"/>
                  <a:pt x="969962" y="606425"/>
                  <a:pt x="981075" y="609600"/>
                </a:cubicBezTo>
                <a:cubicBezTo>
                  <a:pt x="992188" y="612775"/>
                  <a:pt x="998538" y="666750"/>
                  <a:pt x="1009650" y="666750"/>
                </a:cubicBezTo>
                <a:cubicBezTo>
                  <a:pt x="1020762" y="666750"/>
                  <a:pt x="1038225" y="611187"/>
                  <a:pt x="1047750" y="609600"/>
                </a:cubicBezTo>
                <a:cubicBezTo>
                  <a:pt x="1057275" y="608012"/>
                  <a:pt x="1041400" y="650875"/>
                  <a:pt x="1066800" y="657225"/>
                </a:cubicBezTo>
                <a:cubicBezTo>
                  <a:pt x="1092200" y="663575"/>
                  <a:pt x="1171575" y="649287"/>
                  <a:pt x="1200150" y="647700"/>
                </a:cubicBezTo>
                <a:cubicBezTo>
                  <a:pt x="1228725" y="646112"/>
                  <a:pt x="1223963" y="650875"/>
                  <a:pt x="1238250" y="647700"/>
                </a:cubicBezTo>
                <a:cubicBezTo>
                  <a:pt x="1252537" y="644525"/>
                  <a:pt x="1270000" y="627062"/>
                  <a:pt x="1285875" y="628650"/>
                </a:cubicBezTo>
                <a:cubicBezTo>
                  <a:pt x="1301750" y="630237"/>
                  <a:pt x="1301750" y="654050"/>
                  <a:pt x="1333500" y="657225"/>
                </a:cubicBezTo>
                <a:cubicBezTo>
                  <a:pt x="1365250" y="660400"/>
                  <a:pt x="1449388" y="652462"/>
                  <a:pt x="1476375" y="647700"/>
                </a:cubicBezTo>
                <a:cubicBezTo>
                  <a:pt x="1503362" y="642938"/>
                  <a:pt x="1484313" y="627063"/>
                  <a:pt x="1495425" y="628650"/>
                </a:cubicBezTo>
                <a:cubicBezTo>
                  <a:pt x="1506537" y="630237"/>
                  <a:pt x="1527175" y="654050"/>
                  <a:pt x="1543050" y="657225"/>
                </a:cubicBezTo>
                <a:cubicBezTo>
                  <a:pt x="1558925" y="660400"/>
                  <a:pt x="1565275" y="650875"/>
                  <a:pt x="1590675" y="647700"/>
                </a:cubicBezTo>
                <a:cubicBezTo>
                  <a:pt x="1616075" y="644525"/>
                  <a:pt x="1671638" y="635000"/>
                  <a:pt x="1695450" y="638175"/>
                </a:cubicBezTo>
                <a:cubicBezTo>
                  <a:pt x="1719263" y="641350"/>
                  <a:pt x="1709738" y="663575"/>
                  <a:pt x="1733550" y="666750"/>
                </a:cubicBezTo>
                <a:cubicBezTo>
                  <a:pt x="1757363" y="669925"/>
                  <a:pt x="1816100" y="660400"/>
                  <a:pt x="1838325" y="657225"/>
                </a:cubicBezTo>
                <a:cubicBezTo>
                  <a:pt x="1860550" y="654050"/>
                  <a:pt x="1857375" y="644525"/>
                  <a:pt x="1866900" y="647700"/>
                </a:cubicBezTo>
                <a:cubicBezTo>
                  <a:pt x="1876425" y="650875"/>
                  <a:pt x="1881188" y="677862"/>
                  <a:pt x="1895475" y="676275"/>
                </a:cubicBezTo>
                <a:cubicBezTo>
                  <a:pt x="1909762" y="674688"/>
                  <a:pt x="1927225" y="644525"/>
                  <a:pt x="1952625" y="638175"/>
                </a:cubicBezTo>
                <a:cubicBezTo>
                  <a:pt x="1978025" y="631825"/>
                  <a:pt x="2030413" y="630238"/>
                  <a:pt x="2047875" y="638175"/>
                </a:cubicBezTo>
                <a:cubicBezTo>
                  <a:pt x="2065337" y="646112"/>
                  <a:pt x="2054225" y="685800"/>
                  <a:pt x="2057400" y="685800"/>
                </a:cubicBezTo>
                <a:cubicBezTo>
                  <a:pt x="2060575" y="685800"/>
                  <a:pt x="2057400" y="647700"/>
                  <a:pt x="2066925" y="638175"/>
                </a:cubicBezTo>
                <a:cubicBezTo>
                  <a:pt x="2076450" y="628650"/>
                  <a:pt x="2095500" y="628650"/>
                  <a:pt x="2114550" y="628650"/>
                </a:cubicBezTo>
                <a:cubicBezTo>
                  <a:pt x="2133600" y="628650"/>
                  <a:pt x="2166937" y="631825"/>
                  <a:pt x="2181225" y="638175"/>
                </a:cubicBezTo>
                <a:cubicBezTo>
                  <a:pt x="2195513" y="644525"/>
                  <a:pt x="2193925" y="661988"/>
                  <a:pt x="2200275" y="666750"/>
                </a:cubicBezTo>
                <a:cubicBezTo>
                  <a:pt x="2206625" y="671512"/>
                  <a:pt x="2214563" y="671512"/>
                  <a:pt x="2219325" y="666750"/>
                </a:cubicBezTo>
                <a:cubicBezTo>
                  <a:pt x="2224087" y="661988"/>
                  <a:pt x="2220913" y="638175"/>
                  <a:pt x="2228850" y="638175"/>
                </a:cubicBezTo>
                <a:cubicBezTo>
                  <a:pt x="2236787" y="638175"/>
                  <a:pt x="2254250" y="661987"/>
                  <a:pt x="2266950" y="666750"/>
                </a:cubicBezTo>
                <a:cubicBezTo>
                  <a:pt x="2279650" y="671513"/>
                  <a:pt x="2293938" y="673100"/>
                  <a:pt x="2305050" y="666750"/>
                </a:cubicBezTo>
                <a:cubicBezTo>
                  <a:pt x="2316162" y="660400"/>
                  <a:pt x="2319338" y="631825"/>
                  <a:pt x="2333625" y="628650"/>
                </a:cubicBezTo>
                <a:cubicBezTo>
                  <a:pt x="2347912" y="625475"/>
                  <a:pt x="2378075" y="647700"/>
                  <a:pt x="2390775" y="647700"/>
                </a:cubicBezTo>
                <a:cubicBezTo>
                  <a:pt x="2403475" y="647700"/>
                  <a:pt x="2397125" y="627063"/>
                  <a:pt x="2409825" y="628650"/>
                </a:cubicBezTo>
                <a:cubicBezTo>
                  <a:pt x="2422525" y="630237"/>
                  <a:pt x="2446338" y="652463"/>
                  <a:pt x="2466975" y="657225"/>
                </a:cubicBezTo>
                <a:cubicBezTo>
                  <a:pt x="2487612" y="661987"/>
                  <a:pt x="2519362" y="661988"/>
                  <a:pt x="2533650" y="657225"/>
                </a:cubicBezTo>
                <a:cubicBezTo>
                  <a:pt x="2547938" y="652462"/>
                  <a:pt x="2543175" y="628650"/>
                  <a:pt x="2552700" y="628650"/>
                </a:cubicBezTo>
                <a:cubicBezTo>
                  <a:pt x="2562225" y="628650"/>
                  <a:pt x="2579688" y="652463"/>
                  <a:pt x="2590800" y="657225"/>
                </a:cubicBezTo>
                <a:cubicBezTo>
                  <a:pt x="2601912" y="661987"/>
                  <a:pt x="2605087" y="661988"/>
                  <a:pt x="2619375" y="657225"/>
                </a:cubicBezTo>
                <a:cubicBezTo>
                  <a:pt x="2633663" y="652462"/>
                  <a:pt x="2659063" y="628650"/>
                  <a:pt x="2676525" y="628650"/>
                </a:cubicBezTo>
                <a:cubicBezTo>
                  <a:pt x="2693987" y="628650"/>
                  <a:pt x="2708275" y="654050"/>
                  <a:pt x="2724150" y="657225"/>
                </a:cubicBezTo>
                <a:cubicBezTo>
                  <a:pt x="2740025" y="660400"/>
                  <a:pt x="2754313" y="647700"/>
                  <a:pt x="2771775" y="647700"/>
                </a:cubicBezTo>
                <a:cubicBezTo>
                  <a:pt x="2789237" y="647700"/>
                  <a:pt x="2806700" y="655638"/>
                  <a:pt x="2828925" y="657225"/>
                </a:cubicBezTo>
                <a:cubicBezTo>
                  <a:pt x="2851150" y="658812"/>
                  <a:pt x="2889250" y="666750"/>
                  <a:pt x="2905125" y="657225"/>
                </a:cubicBezTo>
                <a:cubicBezTo>
                  <a:pt x="2921000" y="647700"/>
                  <a:pt x="2916238" y="604837"/>
                  <a:pt x="2924175" y="600075"/>
                </a:cubicBezTo>
                <a:cubicBezTo>
                  <a:pt x="2932113" y="595312"/>
                  <a:pt x="2936875" y="623888"/>
                  <a:pt x="2952750" y="628650"/>
                </a:cubicBezTo>
                <a:cubicBezTo>
                  <a:pt x="2968625" y="633412"/>
                  <a:pt x="3008313" y="636587"/>
                  <a:pt x="3019425" y="628650"/>
                </a:cubicBezTo>
                <a:cubicBezTo>
                  <a:pt x="3030538" y="620712"/>
                  <a:pt x="3014663" y="587375"/>
                  <a:pt x="3019425" y="581025"/>
                </a:cubicBezTo>
                <a:cubicBezTo>
                  <a:pt x="3024187" y="574675"/>
                  <a:pt x="3040062" y="593725"/>
                  <a:pt x="3048000" y="590550"/>
                </a:cubicBezTo>
                <a:cubicBezTo>
                  <a:pt x="3055938" y="587375"/>
                  <a:pt x="3057525" y="566738"/>
                  <a:pt x="3067050" y="561975"/>
                </a:cubicBezTo>
                <a:cubicBezTo>
                  <a:pt x="3076575" y="557212"/>
                  <a:pt x="3097213" y="568325"/>
                  <a:pt x="3105150" y="561975"/>
                </a:cubicBezTo>
                <a:cubicBezTo>
                  <a:pt x="3113087" y="555625"/>
                  <a:pt x="3111500" y="538162"/>
                  <a:pt x="3114675" y="523875"/>
                </a:cubicBezTo>
                <a:cubicBezTo>
                  <a:pt x="3117850" y="509588"/>
                  <a:pt x="3119437" y="490538"/>
                  <a:pt x="3124200" y="476250"/>
                </a:cubicBezTo>
                <a:cubicBezTo>
                  <a:pt x="3128963" y="461962"/>
                  <a:pt x="3130550" y="436563"/>
                  <a:pt x="3143250" y="438150"/>
                </a:cubicBezTo>
                <a:cubicBezTo>
                  <a:pt x="3155950" y="439737"/>
                  <a:pt x="3184525" y="468313"/>
                  <a:pt x="3200400" y="485775"/>
                </a:cubicBezTo>
                <a:cubicBezTo>
                  <a:pt x="3216275" y="503237"/>
                  <a:pt x="3225800" y="538162"/>
                  <a:pt x="3238500" y="542925"/>
                </a:cubicBezTo>
                <a:cubicBezTo>
                  <a:pt x="3251200" y="547688"/>
                  <a:pt x="3267075" y="511175"/>
                  <a:pt x="3276600" y="514350"/>
                </a:cubicBezTo>
                <a:cubicBezTo>
                  <a:pt x="3286125" y="517525"/>
                  <a:pt x="3295650" y="561975"/>
                  <a:pt x="3295650" y="561975"/>
                </a:cubicBezTo>
              </a:path>
            </a:pathLst>
          </a:custGeom>
          <a:ln w="19050">
            <a:solidFill>
              <a:srgbClr val="00B0F0"/>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2813" fontAlgn="base">
              <a:spcBef>
                <a:spcPct val="0"/>
              </a:spcBef>
              <a:spcAft>
                <a:spcPct val="0"/>
              </a:spcAft>
            </a:pPr>
            <a:endParaRPr lang="en-US">
              <a:solidFill>
                <a:srgbClr val="292929"/>
              </a:solidFill>
            </a:endParaRPr>
          </a:p>
        </p:txBody>
      </p:sp>
      <p:sp>
        <p:nvSpPr>
          <p:cNvPr id="20" name="Freeform 19"/>
          <p:cNvSpPr/>
          <p:nvPr/>
        </p:nvSpPr>
        <p:spPr>
          <a:xfrm>
            <a:off x="6370586" y="5171718"/>
            <a:ext cx="3924266" cy="162173"/>
          </a:xfrm>
          <a:custGeom>
            <a:avLst/>
            <a:gdLst>
              <a:gd name="connsiteX0" fmla="*/ 0 w 3295650"/>
              <a:gd name="connsiteY0" fmla="*/ 48430 h 134403"/>
              <a:gd name="connsiteX1" fmla="*/ 76200 w 3295650"/>
              <a:gd name="connsiteY1" fmla="*/ 77005 h 134403"/>
              <a:gd name="connsiteX2" fmla="*/ 114300 w 3295650"/>
              <a:gd name="connsiteY2" fmla="*/ 124630 h 134403"/>
              <a:gd name="connsiteX3" fmla="*/ 152400 w 3295650"/>
              <a:gd name="connsiteY3" fmla="*/ 105580 h 134403"/>
              <a:gd name="connsiteX4" fmla="*/ 180975 w 3295650"/>
              <a:gd name="connsiteY4" fmla="*/ 134155 h 134403"/>
              <a:gd name="connsiteX5" fmla="*/ 209550 w 3295650"/>
              <a:gd name="connsiteY5" fmla="*/ 96055 h 134403"/>
              <a:gd name="connsiteX6" fmla="*/ 247650 w 3295650"/>
              <a:gd name="connsiteY6" fmla="*/ 96055 h 134403"/>
              <a:gd name="connsiteX7" fmla="*/ 276225 w 3295650"/>
              <a:gd name="connsiteY7" fmla="*/ 57955 h 134403"/>
              <a:gd name="connsiteX8" fmla="*/ 381000 w 3295650"/>
              <a:gd name="connsiteY8" fmla="*/ 57955 h 134403"/>
              <a:gd name="connsiteX9" fmla="*/ 400050 w 3295650"/>
              <a:gd name="connsiteY9" fmla="*/ 48430 h 134403"/>
              <a:gd name="connsiteX10" fmla="*/ 438150 w 3295650"/>
              <a:gd name="connsiteY10" fmla="*/ 86530 h 134403"/>
              <a:gd name="connsiteX11" fmla="*/ 466725 w 3295650"/>
              <a:gd name="connsiteY11" fmla="*/ 77005 h 134403"/>
              <a:gd name="connsiteX12" fmla="*/ 495300 w 3295650"/>
              <a:gd name="connsiteY12" fmla="*/ 67480 h 134403"/>
              <a:gd name="connsiteX13" fmla="*/ 523875 w 3295650"/>
              <a:gd name="connsiteY13" fmla="*/ 105580 h 134403"/>
              <a:gd name="connsiteX14" fmla="*/ 561975 w 3295650"/>
              <a:gd name="connsiteY14" fmla="*/ 77005 h 134403"/>
              <a:gd name="connsiteX15" fmla="*/ 600075 w 3295650"/>
              <a:gd name="connsiteY15" fmla="*/ 77005 h 134403"/>
              <a:gd name="connsiteX16" fmla="*/ 619125 w 3295650"/>
              <a:gd name="connsiteY16" fmla="*/ 105580 h 134403"/>
              <a:gd name="connsiteX17" fmla="*/ 657225 w 3295650"/>
              <a:gd name="connsiteY17" fmla="*/ 77005 h 134403"/>
              <a:gd name="connsiteX18" fmla="*/ 685800 w 3295650"/>
              <a:gd name="connsiteY18" fmla="*/ 77005 h 134403"/>
              <a:gd name="connsiteX19" fmla="*/ 704850 w 3295650"/>
              <a:gd name="connsiteY19" fmla="*/ 115105 h 134403"/>
              <a:gd name="connsiteX20" fmla="*/ 733425 w 3295650"/>
              <a:gd name="connsiteY20" fmla="*/ 77005 h 134403"/>
              <a:gd name="connsiteX21" fmla="*/ 762000 w 3295650"/>
              <a:gd name="connsiteY21" fmla="*/ 77005 h 134403"/>
              <a:gd name="connsiteX22" fmla="*/ 781050 w 3295650"/>
              <a:gd name="connsiteY22" fmla="*/ 105580 h 134403"/>
              <a:gd name="connsiteX23" fmla="*/ 800100 w 3295650"/>
              <a:gd name="connsiteY23" fmla="*/ 67480 h 134403"/>
              <a:gd name="connsiteX24" fmla="*/ 847725 w 3295650"/>
              <a:gd name="connsiteY24" fmla="*/ 67480 h 134403"/>
              <a:gd name="connsiteX25" fmla="*/ 866775 w 3295650"/>
              <a:gd name="connsiteY25" fmla="*/ 10330 h 134403"/>
              <a:gd name="connsiteX26" fmla="*/ 895350 w 3295650"/>
              <a:gd name="connsiteY26" fmla="*/ 10330 h 134403"/>
              <a:gd name="connsiteX27" fmla="*/ 923925 w 3295650"/>
              <a:gd name="connsiteY27" fmla="*/ 115105 h 134403"/>
              <a:gd name="connsiteX28" fmla="*/ 971550 w 3295650"/>
              <a:gd name="connsiteY28" fmla="*/ 115105 h 134403"/>
              <a:gd name="connsiteX29" fmla="*/ 1009650 w 3295650"/>
              <a:gd name="connsiteY29" fmla="*/ 115105 h 134403"/>
              <a:gd name="connsiteX30" fmla="*/ 1047750 w 3295650"/>
              <a:gd name="connsiteY30" fmla="*/ 105580 h 134403"/>
              <a:gd name="connsiteX31" fmla="*/ 1057275 w 3295650"/>
              <a:gd name="connsiteY31" fmla="*/ 105580 h 134403"/>
              <a:gd name="connsiteX32" fmla="*/ 1152525 w 3295650"/>
              <a:gd name="connsiteY32" fmla="*/ 105580 h 134403"/>
              <a:gd name="connsiteX33" fmla="*/ 1238250 w 3295650"/>
              <a:gd name="connsiteY33" fmla="*/ 124630 h 134403"/>
              <a:gd name="connsiteX34" fmla="*/ 1295400 w 3295650"/>
              <a:gd name="connsiteY34" fmla="*/ 115105 h 134403"/>
              <a:gd name="connsiteX35" fmla="*/ 1352550 w 3295650"/>
              <a:gd name="connsiteY35" fmla="*/ 115105 h 134403"/>
              <a:gd name="connsiteX36" fmla="*/ 1400175 w 3295650"/>
              <a:gd name="connsiteY36" fmla="*/ 115105 h 134403"/>
              <a:gd name="connsiteX37" fmla="*/ 1447800 w 3295650"/>
              <a:gd name="connsiteY37" fmla="*/ 124630 h 134403"/>
              <a:gd name="connsiteX38" fmla="*/ 1485900 w 3295650"/>
              <a:gd name="connsiteY38" fmla="*/ 96055 h 134403"/>
              <a:gd name="connsiteX39" fmla="*/ 1590675 w 3295650"/>
              <a:gd name="connsiteY39" fmla="*/ 105580 h 134403"/>
              <a:gd name="connsiteX40" fmla="*/ 1647825 w 3295650"/>
              <a:gd name="connsiteY40" fmla="*/ 115105 h 134403"/>
              <a:gd name="connsiteX41" fmla="*/ 1714500 w 3295650"/>
              <a:gd name="connsiteY41" fmla="*/ 124630 h 134403"/>
              <a:gd name="connsiteX42" fmla="*/ 1771650 w 3295650"/>
              <a:gd name="connsiteY42" fmla="*/ 115105 h 134403"/>
              <a:gd name="connsiteX43" fmla="*/ 1838325 w 3295650"/>
              <a:gd name="connsiteY43" fmla="*/ 115105 h 134403"/>
              <a:gd name="connsiteX44" fmla="*/ 1905000 w 3295650"/>
              <a:gd name="connsiteY44" fmla="*/ 105580 h 134403"/>
              <a:gd name="connsiteX45" fmla="*/ 1943100 w 3295650"/>
              <a:gd name="connsiteY45" fmla="*/ 124630 h 134403"/>
              <a:gd name="connsiteX46" fmla="*/ 2019300 w 3295650"/>
              <a:gd name="connsiteY46" fmla="*/ 134155 h 134403"/>
              <a:gd name="connsiteX47" fmla="*/ 2085975 w 3295650"/>
              <a:gd name="connsiteY47" fmla="*/ 115105 h 134403"/>
              <a:gd name="connsiteX48" fmla="*/ 2124075 w 3295650"/>
              <a:gd name="connsiteY48" fmla="*/ 134155 h 134403"/>
              <a:gd name="connsiteX49" fmla="*/ 2228850 w 3295650"/>
              <a:gd name="connsiteY49" fmla="*/ 124630 h 134403"/>
              <a:gd name="connsiteX50" fmla="*/ 2305050 w 3295650"/>
              <a:gd name="connsiteY50" fmla="*/ 115105 h 134403"/>
              <a:gd name="connsiteX51" fmla="*/ 2343150 w 3295650"/>
              <a:gd name="connsiteY51" fmla="*/ 124630 h 134403"/>
              <a:gd name="connsiteX52" fmla="*/ 2400300 w 3295650"/>
              <a:gd name="connsiteY52" fmla="*/ 124630 h 134403"/>
              <a:gd name="connsiteX53" fmla="*/ 2438400 w 3295650"/>
              <a:gd name="connsiteY53" fmla="*/ 105580 h 134403"/>
              <a:gd name="connsiteX54" fmla="*/ 2505075 w 3295650"/>
              <a:gd name="connsiteY54" fmla="*/ 124630 h 134403"/>
              <a:gd name="connsiteX55" fmla="*/ 2619375 w 3295650"/>
              <a:gd name="connsiteY55" fmla="*/ 124630 h 134403"/>
              <a:gd name="connsiteX56" fmla="*/ 2676525 w 3295650"/>
              <a:gd name="connsiteY56" fmla="*/ 134155 h 134403"/>
              <a:gd name="connsiteX57" fmla="*/ 2800350 w 3295650"/>
              <a:gd name="connsiteY57" fmla="*/ 115105 h 134403"/>
              <a:gd name="connsiteX58" fmla="*/ 2847975 w 3295650"/>
              <a:gd name="connsiteY58" fmla="*/ 134155 h 134403"/>
              <a:gd name="connsiteX59" fmla="*/ 2971800 w 3295650"/>
              <a:gd name="connsiteY59" fmla="*/ 134155 h 134403"/>
              <a:gd name="connsiteX60" fmla="*/ 3019425 w 3295650"/>
              <a:gd name="connsiteY60" fmla="*/ 115105 h 134403"/>
              <a:gd name="connsiteX61" fmla="*/ 3171825 w 3295650"/>
              <a:gd name="connsiteY61" fmla="*/ 115105 h 134403"/>
              <a:gd name="connsiteX62" fmla="*/ 3190875 w 3295650"/>
              <a:gd name="connsiteY62" fmla="*/ 96055 h 134403"/>
              <a:gd name="connsiteX63" fmla="*/ 3219450 w 3295650"/>
              <a:gd name="connsiteY63" fmla="*/ 115105 h 134403"/>
              <a:gd name="connsiteX64" fmla="*/ 3295650 w 3295650"/>
              <a:gd name="connsiteY64" fmla="*/ 124630 h 134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3295650" h="134403">
                <a:moveTo>
                  <a:pt x="0" y="48430"/>
                </a:moveTo>
                <a:cubicBezTo>
                  <a:pt x="28575" y="56367"/>
                  <a:pt x="57150" y="64305"/>
                  <a:pt x="76200" y="77005"/>
                </a:cubicBezTo>
                <a:cubicBezTo>
                  <a:pt x="95250" y="89705"/>
                  <a:pt x="101600" y="119867"/>
                  <a:pt x="114300" y="124630"/>
                </a:cubicBezTo>
                <a:cubicBezTo>
                  <a:pt x="127000" y="129393"/>
                  <a:pt x="141288" y="103993"/>
                  <a:pt x="152400" y="105580"/>
                </a:cubicBezTo>
                <a:cubicBezTo>
                  <a:pt x="163512" y="107167"/>
                  <a:pt x="171450" y="135743"/>
                  <a:pt x="180975" y="134155"/>
                </a:cubicBezTo>
                <a:cubicBezTo>
                  <a:pt x="190500" y="132568"/>
                  <a:pt x="198438" y="102405"/>
                  <a:pt x="209550" y="96055"/>
                </a:cubicBezTo>
                <a:cubicBezTo>
                  <a:pt x="220662" y="89705"/>
                  <a:pt x="236538" y="102405"/>
                  <a:pt x="247650" y="96055"/>
                </a:cubicBezTo>
                <a:cubicBezTo>
                  <a:pt x="258762" y="89705"/>
                  <a:pt x="254000" y="64305"/>
                  <a:pt x="276225" y="57955"/>
                </a:cubicBezTo>
                <a:cubicBezTo>
                  <a:pt x="298450" y="51605"/>
                  <a:pt x="360363" y="59542"/>
                  <a:pt x="381000" y="57955"/>
                </a:cubicBezTo>
                <a:cubicBezTo>
                  <a:pt x="401637" y="56368"/>
                  <a:pt x="390525" y="43667"/>
                  <a:pt x="400050" y="48430"/>
                </a:cubicBezTo>
                <a:cubicBezTo>
                  <a:pt x="409575" y="53193"/>
                  <a:pt x="427038" y="81768"/>
                  <a:pt x="438150" y="86530"/>
                </a:cubicBezTo>
                <a:cubicBezTo>
                  <a:pt x="449262" y="91292"/>
                  <a:pt x="466725" y="77005"/>
                  <a:pt x="466725" y="77005"/>
                </a:cubicBezTo>
                <a:cubicBezTo>
                  <a:pt x="476250" y="73830"/>
                  <a:pt x="485775" y="62717"/>
                  <a:pt x="495300" y="67480"/>
                </a:cubicBezTo>
                <a:cubicBezTo>
                  <a:pt x="504825" y="72243"/>
                  <a:pt x="512763" y="103993"/>
                  <a:pt x="523875" y="105580"/>
                </a:cubicBezTo>
                <a:cubicBezTo>
                  <a:pt x="534987" y="107167"/>
                  <a:pt x="549275" y="81768"/>
                  <a:pt x="561975" y="77005"/>
                </a:cubicBezTo>
                <a:cubicBezTo>
                  <a:pt x="574675" y="72242"/>
                  <a:pt x="590550" y="72242"/>
                  <a:pt x="600075" y="77005"/>
                </a:cubicBezTo>
                <a:cubicBezTo>
                  <a:pt x="609600" y="81768"/>
                  <a:pt x="609600" y="105580"/>
                  <a:pt x="619125" y="105580"/>
                </a:cubicBezTo>
                <a:cubicBezTo>
                  <a:pt x="628650" y="105580"/>
                  <a:pt x="646113" y="81767"/>
                  <a:pt x="657225" y="77005"/>
                </a:cubicBezTo>
                <a:cubicBezTo>
                  <a:pt x="668337" y="72243"/>
                  <a:pt x="677863" y="70655"/>
                  <a:pt x="685800" y="77005"/>
                </a:cubicBezTo>
                <a:cubicBezTo>
                  <a:pt x="693737" y="83355"/>
                  <a:pt x="696913" y="115105"/>
                  <a:pt x="704850" y="115105"/>
                </a:cubicBezTo>
                <a:cubicBezTo>
                  <a:pt x="712787" y="115105"/>
                  <a:pt x="723900" y="83355"/>
                  <a:pt x="733425" y="77005"/>
                </a:cubicBezTo>
                <a:cubicBezTo>
                  <a:pt x="742950" y="70655"/>
                  <a:pt x="754063" y="72243"/>
                  <a:pt x="762000" y="77005"/>
                </a:cubicBezTo>
                <a:cubicBezTo>
                  <a:pt x="769938" y="81768"/>
                  <a:pt x="774700" y="107168"/>
                  <a:pt x="781050" y="105580"/>
                </a:cubicBezTo>
                <a:cubicBezTo>
                  <a:pt x="787400" y="103993"/>
                  <a:pt x="788988" y="73830"/>
                  <a:pt x="800100" y="67480"/>
                </a:cubicBezTo>
                <a:cubicBezTo>
                  <a:pt x="811212" y="61130"/>
                  <a:pt x="836613" y="77005"/>
                  <a:pt x="847725" y="67480"/>
                </a:cubicBezTo>
                <a:cubicBezTo>
                  <a:pt x="858838" y="57955"/>
                  <a:pt x="858838" y="19855"/>
                  <a:pt x="866775" y="10330"/>
                </a:cubicBezTo>
                <a:cubicBezTo>
                  <a:pt x="874712" y="805"/>
                  <a:pt x="885825" y="-7133"/>
                  <a:pt x="895350" y="10330"/>
                </a:cubicBezTo>
                <a:cubicBezTo>
                  <a:pt x="904875" y="27792"/>
                  <a:pt x="911225" y="97643"/>
                  <a:pt x="923925" y="115105"/>
                </a:cubicBezTo>
                <a:cubicBezTo>
                  <a:pt x="936625" y="132568"/>
                  <a:pt x="971550" y="115105"/>
                  <a:pt x="971550" y="115105"/>
                </a:cubicBezTo>
                <a:cubicBezTo>
                  <a:pt x="985837" y="115105"/>
                  <a:pt x="996950" y="116692"/>
                  <a:pt x="1009650" y="115105"/>
                </a:cubicBezTo>
                <a:cubicBezTo>
                  <a:pt x="1022350" y="113518"/>
                  <a:pt x="1039812" y="107168"/>
                  <a:pt x="1047750" y="105580"/>
                </a:cubicBezTo>
                <a:cubicBezTo>
                  <a:pt x="1055688" y="103992"/>
                  <a:pt x="1057275" y="105580"/>
                  <a:pt x="1057275" y="105580"/>
                </a:cubicBezTo>
                <a:cubicBezTo>
                  <a:pt x="1074737" y="105580"/>
                  <a:pt x="1122362" y="102405"/>
                  <a:pt x="1152525" y="105580"/>
                </a:cubicBezTo>
                <a:cubicBezTo>
                  <a:pt x="1182688" y="108755"/>
                  <a:pt x="1214437" y="123042"/>
                  <a:pt x="1238250" y="124630"/>
                </a:cubicBezTo>
                <a:cubicBezTo>
                  <a:pt x="1262063" y="126218"/>
                  <a:pt x="1276350" y="116692"/>
                  <a:pt x="1295400" y="115105"/>
                </a:cubicBezTo>
                <a:cubicBezTo>
                  <a:pt x="1314450" y="113518"/>
                  <a:pt x="1352550" y="115105"/>
                  <a:pt x="1352550" y="115105"/>
                </a:cubicBezTo>
                <a:cubicBezTo>
                  <a:pt x="1370012" y="115105"/>
                  <a:pt x="1384300" y="113518"/>
                  <a:pt x="1400175" y="115105"/>
                </a:cubicBezTo>
                <a:cubicBezTo>
                  <a:pt x="1416050" y="116693"/>
                  <a:pt x="1433513" y="127805"/>
                  <a:pt x="1447800" y="124630"/>
                </a:cubicBezTo>
                <a:cubicBezTo>
                  <a:pt x="1462087" y="121455"/>
                  <a:pt x="1462088" y="99230"/>
                  <a:pt x="1485900" y="96055"/>
                </a:cubicBezTo>
                <a:cubicBezTo>
                  <a:pt x="1509713" y="92880"/>
                  <a:pt x="1563687" y="102405"/>
                  <a:pt x="1590675" y="105580"/>
                </a:cubicBezTo>
                <a:cubicBezTo>
                  <a:pt x="1617663" y="108755"/>
                  <a:pt x="1627188" y="111930"/>
                  <a:pt x="1647825" y="115105"/>
                </a:cubicBezTo>
                <a:cubicBezTo>
                  <a:pt x="1668463" y="118280"/>
                  <a:pt x="1693863" y="124630"/>
                  <a:pt x="1714500" y="124630"/>
                </a:cubicBezTo>
                <a:cubicBezTo>
                  <a:pt x="1735137" y="124630"/>
                  <a:pt x="1751013" y="116692"/>
                  <a:pt x="1771650" y="115105"/>
                </a:cubicBezTo>
                <a:cubicBezTo>
                  <a:pt x="1792287" y="113518"/>
                  <a:pt x="1816100" y="116692"/>
                  <a:pt x="1838325" y="115105"/>
                </a:cubicBezTo>
                <a:cubicBezTo>
                  <a:pt x="1860550" y="113518"/>
                  <a:pt x="1887538" y="103993"/>
                  <a:pt x="1905000" y="105580"/>
                </a:cubicBezTo>
                <a:cubicBezTo>
                  <a:pt x="1922462" y="107167"/>
                  <a:pt x="1924050" y="119868"/>
                  <a:pt x="1943100" y="124630"/>
                </a:cubicBezTo>
                <a:cubicBezTo>
                  <a:pt x="1962150" y="129392"/>
                  <a:pt x="1995487" y="135743"/>
                  <a:pt x="2019300" y="134155"/>
                </a:cubicBezTo>
                <a:cubicBezTo>
                  <a:pt x="2043113" y="132567"/>
                  <a:pt x="2068513" y="115105"/>
                  <a:pt x="2085975" y="115105"/>
                </a:cubicBezTo>
                <a:cubicBezTo>
                  <a:pt x="2103437" y="115105"/>
                  <a:pt x="2100262" y="132567"/>
                  <a:pt x="2124075" y="134155"/>
                </a:cubicBezTo>
                <a:cubicBezTo>
                  <a:pt x="2147888" y="135743"/>
                  <a:pt x="2198687" y="127805"/>
                  <a:pt x="2228850" y="124630"/>
                </a:cubicBezTo>
                <a:cubicBezTo>
                  <a:pt x="2259013" y="121455"/>
                  <a:pt x="2286000" y="115105"/>
                  <a:pt x="2305050" y="115105"/>
                </a:cubicBezTo>
                <a:cubicBezTo>
                  <a:pt x="2324100" y="115105"/>
                  <a:pt x="2327275" y="123043"/>
                  <a:pt x="2343150" y="124630"/>
                </a:cubicBezTo>
                <a:cubicBezTo>
                  <a:pt x="2359025" y="126218"/>
                  <a:pt x="2384425" y="127805"/>
                  <a:pt x="2400300" y="124630"/>
                </a:cubicBezTo>
                <a:cubicBezTo>
                  <a:pt x="2416175" y="121455"/>
                  <a:pt x="2420938" y="105580"/>
                  <a:pt x="2438400" y="105580"/>
                </a:cubicBezTo>
                <a:cubicBezTo>
                  <a:pt x="2455862" y="105580"/>
                  <a:pt x="2474912" y="121455"/>
                  <a:pt x="2505075" y="124630"/>
                </a:cubicBezTo>
                <a:cubicBezTo>
                  <a:pt x="2535238" y="127805"/>
                  <a:pt x="2590800" y="123043"/>
                  <a:pt x="2619375" y="124630"/>
                </a:cubicBezTo>
                <a:cubicBezTo>
                  <a:pt x="2647950" y="126218"/>
                  <a:pt x="2646363" y="135742"/>
                  <a:pt x="2676525" y="134155"/>
                </a:cubicBezTo>
                <a:cubicBezTo>
                  <a:pt x="2706687" y="132568"/>
                  <a:pt x="2771775" y="115105"/>
                  <a:pt x="2800350" y="115105"/>
                </a:cubicBezTo>
                <a:cubicBezTo>
                  <a:pt x="2828925" y="115105"/>
                  <a:pt x="2819400" y="130980"/>
                  <a:pt x="2847975" y="134155"/>
                </a:cubicBezTo>
                <a:cubicBezTo>
                  <a:pt x="2876550" y="137330"/>
                  <a:pt x="2943225" y="137330"/>
                  <a:pt x="2971800" y="134155"/>
                </a:cubicBezTo>
                <a:cubicBezTo>
                  <a:pt x="3000375" y="130980"/>
                  <a:pt x="2986088" y="118280"/>
                  <a:pt x="3019425" y="115105"/>
                </a:cubicBezTo>
                <a:cubicBezTo>
                  <a:pt x="3052762" y="111930"/>
                  <a:pt x="3143250" y="118280"/>
                  <a:pt x="3171825" y="115105"/>
                </a:cubicBezTo>
                <a:cubicBezTo>
                  <a:pt x="3200400" y="111930"/>
                  <a:pt x="3182938" y="96055"/>
                  <a:pt x="3190875" y="96055"/>
                </a:cubicBezTo>
                <a:cubicBezTo>
                  <a:pt x="3198812" y="96055"/>
                  <a:pt x="3201987" y="110342"/>
                  <a:pt x="3219450" y="115105"/>
                </a:cubicBezTo>
                <a:cubicBezTo>
                  <a:pt x="3236913" y="119868"/>
                  <a:pt x="3266281" y="122249"/>
                  <a:pt x="3295650" y="124630"/>
                </a:cubicBezTo>
              </a:path>
            </a:pathLst>
          </a:cu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2813" fontAlgn="base">
              <a:spcBef>
                <a:spcPct val="0"/>
              </a:spcBef>
              <a:spcAft>
                <a:spcPct val="0"/>
              </a:spcAft>
            </a:pPr>
            <a:endParaRPr lang="en-US">
              <a:solidFill>
                <a:srgbClr val="292929"/>
              </a:solidFill>
            </a:endParaRPr>
          </a:p>
        </p:txBody>
      </p:sp>
      <p:sp>
        <p:nvSpPr>
          <p:cNvPr id="21" name="TextBox 20"/>
          <p:cNvSpPr txBox="1"/>
          <p:nvPr/>
        </p:nvSpPr>
        <p:spPr>
          <a:xfrm>
            <a:off x="1541850" y="5465022"/>
            <a:ext cx="857817" cy="443198"/>
          </a:xfrm>
          <a:prstGeom prst="rect">
            <a:avLst/>
          </a:prstGeom>
          <a:noFill/>
        </p:spPr>
        <p:txBody>
          <a:bodyPr wrap="square" lIns="0" tIns="0" rIns="0" bIns="0" rtlCol="0">
            <a:spAutoFit/>
          </a:bodyPr>
          <a:lstStyle/>
          <a:p>
            <a:pPr defTabSz="912813" fontAlgn="base">
              <a:lnSpc>
                <a:spcPct val="90000"/>
              </a:lnSpc>
              <a:spcBef>
                <a:spcPct val="0"/>
              </a:spcBef>
              <a:spcAft>
                <a:spcPct val="0"/>
              </a:spcAft>
            </a:pPr>
            <a:r>
              <a:rPr lang="ru-RU" sz="1600" dirty="0">
                <a:gradFill>
                  <a:gsLst>
                    <a:gs pos="0">
                      <a:srgbClr val="292929"/>
                    </a:gs>
                    <a:gs pos="86000">
                      <a:srgbClr val="292929"/>
                    </a:gs>
                  </a:gsLst>
                  <a:lin ang="5400000" scaled="0"/>
                </a:gradFill>
                <a:cs typeface="Arial" charset="0"/>
              </a:rPr>
              <a:t>Январь 2009</a:t>
            </a:r>
            <a:endParaRPr lang="en-US" sz="1600" dirty="0">
              <a:gradFill>
                <a:gsLst>
                  <a:gs pos="0">
                    <a:srgbClr val="292929"/>
                  </a:gs>
                  <a:gs pos="86000">
                    <a:srgbClr val="292929"/>
                  </a:gs>
                </a:gsLst>
                <a:lin ang="5400000" scaled="0"/>
              </a:gradFill>
              <a:cs typeface="Arial" charset="0"/>
            </a:endParaRPr>
          </a:p>
        </p:txBody>
      </p:sp>
      <p:sp>
        <p:nvSpPr>
          <p:cNvPr id="22" name="TextBox 21"/>
          <p:cNvSpPr txBox="1"/>
          <p:nvPr/>
        </p:nvSpPr>
        <p:spPr>
          <a:xfrm>
            <a:off x="5038099" y="5455475"/>
            <a:ext cx="824637" cy="454946"/>
          </a:xfrm>
          <a:prstGeom prst="rect">
            <a:avLst/>
          </a:prstGeom>
          <a:noFill/>
        </p:spPr>
        <p:txBody>
          <a:bodyPr wrap="square" lIns="0" tIns="0" rIns="0" bIns="0" rtlCol="0">
            <a:spAutoFit/>
          </a:bodyPr>
          <a:lstStyle/>
          <a:p>
            <a:pPr defTabSz="912813" fontAlgn="base">
              <a:lnSpc>
                <a:spcPct val="90000"/>
              </a:lnSpc>
              <a:spcBef>
                <a:spcPct val="0"/>
              </a:spcBef>
              <a:spcAft>
                <a:spcPct val="0"/>
              </a:spcAft>
            </a:pPr>
            <a:r>
              <a:rPr lang="ru-RU" sz="1600" dirty="0">
                <a:gradFill>
                  <a:gsLst>
                    <a:gs pos="0">
                      <a:srgbClr val="292929"/>
                    </a:gs>
                    <a:gs pos="86000">
                      <a:srgbClr val="292929"/>
                    </a:gs>
                  </a:gsLst>
                  <a:lin ang="5400000" scaled="0"/>
                </a:gradFill>
                <a:cs typeface="Arial" charset="0"/>
              </a:rPr>
              <a:t>Январь </a:t>
            </a:r>
            <a:r>
              <a:rPr lang="en-US" sz="1600" dirty="0">
                <a:gradFill>
                  <a:gsLst>
                    <a:gs pos="0">
                      <a:srgbClr val="292929"/>
                    </a:gs>
                    <a:gs pos="86000">
                      <a:srgbClr val="292929"/>
                    </a:gs>
                  </a:gsLst>
                  <a:lin ang="5400000" scaled="0"/>
                </a:gradFill>
                <a:cs typeface="Arial" charset="0"/>
              </a:rPr>
              <a:t>2010</a:t>
            </a:r>
          </a:p>
        </p:txBody>
      </p:sp>
      <p:sp>
        <p:nvSpPr>
          <p:cNvPr id="23" name="TextBox 22"/>
          <p:cNvSpPr txBox="1"/>
          <p:nvPr/>
        </p:nvSpPr>
        <p:spPr>
          <a:xfrm>
            <a:off x="6057807" y="5452542"/>
            <a:ext cx="678071" cy="443198"/>
          </a:xfrm>
          <a:prstGeom prst="rect">
            <a:avLst/>
          </a:prstGeom>
          <a:noFill/>
        </p:spPr>
        <p:txBody>
          <a:bodyPr wrap="none" lIns="0" tIns="0" rIns="0" bIns="0" rtlCol="0">
            <a:spAutoFit/>
          </a:bodyPr>
          <a:lstStyle/>
          <a:p>
            <a:pPr defTabSz="912813" fontAlgn="base">
              <a:lnSpc>
                <a:spcPct val="90000"/>
              </a:lnSpc>
              <a:spcBef>
                <a:spcPct val="0"/>
              </a:spcBef>
              <a:spcAft>
                <a:spcPct val="0"/>
              </a:spcAft>
            </a:pPr>
            <a:r>
              <a:rPr lang="ru-RU" sz="1600" dirty="0">
                <a:gradFill>
                  <a:gsLst>
                    <a:gs pos="0">
                      <a:srgbClr val="292929"/>
                    </a:gs>
                    <a:gs pos="86000">
                      <a:srgbClr val="292929"/>
                    </a:gs>
                  </a:gsLst>
                  <a:lin ang="5400000" scaled="0"/>
                </a:gradFill>
                <a:cs typeface="Arial" charset="0"/>
              </a:rPr>
              <a:t>Январь</a:t>
            </a:r>
          </a:p>
          <a:p>
            <a:pPr defTabSz="912813" fontAlgn="base">
              <a:lnSpc>
                <a:spcPct val="90000"/>
              </a:lnSpc>
              <a:spcBef>
                <a:spcPct val="0"/>
              </a:spcBef>
              <a:spcAft>
                <a:spcPct val="0"/>
              </a:spcAft>
            </a:pPr>
            <a:r>
              <a:rPr lang="en-US" sz="1600" dirty="0">
                <a:gradFill>
                  <a:gsLst>
                    <a:gs pos="0">
                      <a:srgbClr val="292929"/>
                    </a:gs>
                    <a:gs pos="86000">
                      <a:srgbClr val="292929"/>
                    </a:gs>
                  </a:gsLst>
                  <a:lin ang="5400000" scaled="0"/>
                </a:gradFill>
                <a:cs typeface="Arial" charset="0"/>
              </a:rPr>
              <a:t>2009</a:t>
            </a:r>
          </a:p>
        </p:txBody>
      </p:sp>
      <p:sp>
        <p:nvSpPr>
          <p:cNvPr id="24" name="TextBox 23"/>
          <p:cNvSpPr txBox="1"/>
          <p:nvPr/>
        </p:nvSpPr>
        <p:spPr>
          <a:xfrm>
            <a:off x="9813985" y="5474868"/>
            <a:ext cx="678071" cy="443198"/>
          </a:xfrm>
          <a:prstGeom prst="rect">
            <a:avLst/>
          </a:prstGeom>
          <a:noFill/>
        </p:spPr>
        <p:txBody>
          <a:bodyPr wrap="none" lIns="0" tIns="0" rIns="0" bIns="0" rtlCol="0">
            <a:spAutoFit/>
          </a:bodyPr>
          <a:lstStyle/>
          <a:p>
            <a:pPr defTabSz="912813" fontAlgn="base">
              <a:lnSpc>
                <a:spcPct val="90000"/>
              </a:lnSpc>
              <a:spcBef>
                <a:spcPct val="0"/>
              </a:spcBef>
              <a:spcAft>
                <a:spcPct val="0"/>
              </a:spcAft>
            </a:pPr>
            <a:r>
              <a:rPr lang="ru-RU" sz="1600" dirty="0">
                <a:gradFill>
                  <a:gsLst>
                    <a:gs pos="0">
                      <a:srgbClr val="292929"/>
                    </a:gs>
                    <a:gs pos="86000">
                      <a:srgbClr val="292929"/>
                    </a:gs>
                  </a:gsLst>
                  <a:lin ang="5400000" scaled="0"/>
                </a:gradFill>
                <a:cs typeface="Arial" charset="0"/>
              </a:rPr>
              <a:t>Январь</a:t>
            </a:r>
          </a:p>
          <a:p>
            <a:pPr defTabSz="912813" fontAlgn="base">
              <a:lnSpc>
                <a:spcPct val="90000"/>
              </a:lnSpc>
              <a:spcBef>
                <a:spcPct val="0"/>
              </a:spcBef>
              <a:spcAft>
                <a:spcPct val="0"/>
              </a:spcAft>
            </a:pPr>
            <a:r>
              <a:rPr lang="en-US" sz="1600" dirty="0">
                <a:gradFill>
                  <a:gsLst>
                    <a:gs pos="0">
                      <a:srgbClr val="292929"/>
                    </a:gs>
                    <a:gs pos="86000">
                      <a:srgbClr val="292929"/>
                    </a:gs>
                  </a:gsLst>
                  <a:lin ang="5400000" scaled="0"/>
                </a:gradFill>
                <a:cs typeface="Arial" charset="0"/>
              </a:rPr>
              <a:t>2010</a:t>
            </a:r>
          </a:p>
        </p:txBody>
      </p:sp>
      <p:sp>
        <p:nvSpPr>
          <p:cNvPr id="27" name="TextBox 26"/>
          <p:cNvSpPr txBox="1"/>
          <p:nvPr/>
        </p:nvSpPr>
        <p:spPr>
          <a:xfrm>
            <a:off x="1669409" y="173655"/>
            <a:ext cx="8646082" cy="615553"/>
          </a:xfrm>
          <a:prstGeom prst="rect">
            <a:avLst/>
          </a:prstGeom>
          <a:noFill/>
        </p:spPr>
        <p:txBody>
          <a:bodyPr wrap="square" lIns="0" tIns="0" rIns="0" bIns="0" rtlCol="0">
            <a:spAutoFit/>
          </a:bodyPr>
          <a:lstStyle/>
          <a:p>
            <a:pPr defTabSz="912813" fontAlgn="base">
              <a:spcBef>
                <a:spcPct val="0"/>
              </a:spcBef>
              <a:spcAft>
                <a:spcPct val="0"/>
              </a:spcAft>
            </a:pPr>
            <a:r>
              <a:rPr lang="ru-RU" sz="4000" dirty="0">
                <a:gradFill>
                  <a:gsLst>
                    <a:gs pos="0">
                      <a:srgbClr val="292929"/>
                    </a:gs>
                    <a:gs pos="86000">
                      <a:srgbClr val="292929"/>
                    </a:gs>
                  </a:gsLst>
                  <a:lin ang="5400000" scaled="0"/>
                </a:gradFill>
                <a:effectLst>
                  <a:outerShdw blurRad="38100" dist="38100" dir="2700000" algn="tl">
                    <a:srgbClr val="000000">
                      <a:alpha val="43137"/>
                    </a:srgbClr>
                  </a:outerShdw>
                </a:effectLst>
                <a:cs typeface="Arial" charset="0"/>
              </a:rPr>
              <a:t>Сценарий</a:t>
            </a:r>
            <a:r>
              <a:rPr lang="en-US" sz="4000" dirty="0">
                <a:gradFill>
                  <a:gsLst>
                    <a:gs pos="0">
                      <a:srgbClr val="292929"/>
                    </a:gs>
                    <a:gs pos="86000">
                      <a:srgbClr val="292929"/>
                    </a:gs>
                  </a:gsLst>
                  <a:lin ang="5400000" scaled="0"/>
                </a:gradFill>
                <a:effectLst>
                  <a:outerShdw blurRad="38100" dist="38100" dir="2700000" algn="tl">
                    <a:srgbClr val="000000">
                      <a:alpha val="43137"/>
                    </a:srgbClr>
                  </a:outerShdw>
                </a:effectLst>
                <a:cs typeface="Arial" charset="0"/>
              </a:rPr>
              <a:t>: </a:t>
            </a:r>
            <a:r>
              <a:rPr lang="ru-RU" sz="3600" dirty="0">
                <a:gradFill>
                  <a:gsLst>
                    <a:gs pos="0">
                      <a:srgbClr val="292929"/>
                    </a:gs>
                    <a:gs pos="86000">
                      <a:srgbClr val="292929"/>
                    </a:gs>
                  </a:gsLst>
                  <a:lin ang="5400000" scaled="0"/>
                </a:gradFill>
                <a:effectLst>
                  <a:outerShdw blurRad="38100" dist="38100" dir="2700000" algn="tl">
                    <a:srgbClr val="000000">
                      <a:alpha val="43137"/>
                    </a:srgbClr>
                  </a:outerShdw>
                </a:effectLst>
                <a:cs typeface="Arial" charset="0"/>
              </a:rPr>
              <a:t>Изменение нагрузки за год</a:t>
            </a:r>
            <a:endParaRPr lang="en-US" sz="3600" dirty="0" err="1">
              <a:gradFill>
                <a:gsLst>
                  <a:gs pos="0">
                    <a:srgbClr val="292929"/>
                  </a:gs>
                  <a:gs pos="86000">
                    <a:srgbClr val="292929"/>
                  </a:gs>
                </a:gsLst>
                <a:lin ang="5400000" scaled="0"/>
              </a:gradFill>
              <a:effectLst>
                <a:outerShdw blurRad="38100" dist="38100" dir="2700000" algn="tl">
                  <a:srgbClr val="000000">
                    <a:alpha val="43137"/>
                  </a:srgbClr>
                </a:outerShdw>
              </a:effectLst>
              <a:cs typeface="Arial" charset="0"/>
            </a:endParaRPr>
          </a:p>
        </p:txBody>
      </p:sp>
      <p:sp>
        <p:nvSpPr>
          <p:cNvPr id="3" name="TextBox 2"/>
          <p:cNvSpPr txBox="1"/>
          <p:nvPr/>
        </p:nvSpPr>
        <p:spPr>
          <a:xfrm>
            <a:off x="1524000" y="1503068"/>
            <a:ext cx="4053930" cy="430887"/>
          </a:xfrm>
          <a:prstGeom prst="rect">
            <a:avLst/>
          </a:prstGeom>
          <a:noFill/>
        </p:spPr>
        <p:txBody>
          <a:bodyPr wrap="none" lIns="0" tIns="0" rIns="0" bIns="0" rtlCol="0">
            <a:spAutoFit/>
          </a:bodyPr>
          <a:lstStyle/>
          <a:p>
            <a:pPr defTabSz="912813" fontAlgn="base">
              <a:spcBef>
                <a:spcPct val="0"/>
              </a:spcBef>
              <a:spcAft>
                <a:spcPct val="0"/>
              </a:spcAft>
            </a:pPr>
            <a:r>
              <a:rPr lang="ru-RU" sz="2800" dirty="0">
                <a:gradFill>
                  <a:gsLst>
                    <a:gs pos="0">
                      <a:srgbClr val="292929"/>
                    </a:gs>
                    <a:gs pos="86000">
                      <a:srgbClr val="292929"/>
                    </a:gs>
                  </a:gsLst>
                  <a:lin ang="5400000" scaled="0"/>
                </a:gradFill>
                <a:cs typeface="Arial" charset="0"/>
              </a:rPr>
              <a:t>Покупки через интернет</a:t>
            </a:r>
            <a:endParaRPr lang="en-US" sz="2800" dirty="0" err="1">
              <a:gradFill>
                <a:gsLst>
                  <a:gs pos="0">
                    <a:srgbClr val="292929"/>
                  </a:gs>
                  <a:gs pos="86000">
                    <a:srgbClr val="292929"/>
                  </a:gs>
                </a:gsLst>
                <a:lin ang="5400000" scaled="0"/>
              </a:gradFill>
              <a:cs typeface="Arial" charset="0"/>
            </a:endParaRPr>
          </a:p>
        </p:txBody>
      </p:sp>
      <p:sp>
        <p:nvSpPr>
          <p:cNvPr id="29" name="TextBox 28"/>
          <p:cNvSpPr txBox="1"/>
          <p:nvPr/>
        </p:nvSpPr>
        <p:spPr>
          <a:xfrm>
            <a:off x="6292572" y="1109619"/>
            <a:ext cx="4375429" cy="861774"/>
          </a:xfrm>
          <a:prstGeom prst="rect">
            <a:avLst/>
          </a:prstGeom>
          <a:noFill/>
        </p:spPr>
        <p:txBody>
          <a:bodyPr wrap="none" lIns="0" tIns="0" rIns="0" bIns="0" rtlCol="0">
            <a:spAutoFit/>
          </a:bodyPr>
          <a:lstStyle/>
          <a:p>
            <a:pPr defTabSz="912813" fontAlgn="base">
              <a:spcBef>
                <a:spcPct val="0"/>
              </a:spcBef>
              <a:spcAft>
                <a:spcPct val="0"/>
              </a:spcAft>
            </a:pPr>
            <a:r>
              <a:rPr lang="ru-RU" sz="2800" dirty="0">
                <a:gradFill>
                  <a:gsLst>
                    <a:gs pos="0">
                      <a:srgbClr val="292929"/>
                    </a:gs>
                    <a:gs pos="86000">
                      <a:srgbClr val="292929"/>
                    </a:gs>
                  </a:gsLst>
                  <a:lin ang="5400000" scaled="0"/>
                </a:gradFill>
                <a:cs typeface="Arial" charset="0"/>
              </a:rPr>
              <a:t>Онлайн подача налоговых</a:t>
            </a:r>
          </a:p>
          <a:p>
            <a:pPr defTabSz="912813" fontAlgn="base">
              <a:spcBef>
                <a:spcPct val="0"/>
              </a:spcBef>
              <a:spcAft>
                <a:spcPct val="0"/>
              </a:spcAft>
            </a:pPr>
            <a:r>
              <a:rPr lang="ru-RU" sz="2800" dirty="0">
                <a:gradFill>
                  <a:gsLst>
                    <a:gs pos="0">
                      <a:srgbClr val="292929"/>
                    </a:gs>
                    <a:gs pos="86000">
                      <a:srgbClr val="292929"/>
                    </a:gs>
                  </a:gsLst>
                  <a:lin ang="5400000" scaled="0"/>
                </a:gradFill>
                <a:cs typeface="Arial" charset="0"/>
              </a:rPr>
              <a:t>деклараций</a:t>
            </a:r>
            <a:endParaRPr lang="en-US" sz="2800" dirty="0" err="1">
              <a:gradFill>
                <a:gsLst>
                  <a:gs pos="0">
                    <a:srgbClr val="292929"/>
                  </a:gs>
                  <a:gs pos="86000">
                    <a:srgbClr val="292929"/>
                  </a:gs>
                </a:gsLst>
                <a:lin ang="5400000" scaled="0"/>
              </a:gradFill>
              <a:cs typeface="Arial" charset="0"/>
            </a:endParaRPr>
          </a:p>
        </p:txBody>
      </p:sp>
      <p:pic>
        <p:nvPicPr>
          <p:cNvPr id="3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896913" y="6227806"/>
            <a:ext cx="2561021" cy="4830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476441015"/>
      </p:ext>
    </p:extLst>
  </p:cSld>
  <p:clrMapOvr>
    <a:masterClrMapping/>
  </p:clrMapOvr>
  <p:transition>
    <p:fade/>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9727" y="115863"/>
            <a:ext cx="10297800" cy="720000"/>
          </a:xfrm>
        </p:spPr>
        <p:txBody>
          <a:bodyPr>
            <a:normAutofit fontScale="90000"/>
          </a:bodyPr>
          <a:lstStyle/>
          <a:p>
            <a:r>
              <a:rPr lang="en-US" b="1" dirty="0" smtClean="0"/>
              <a:t>Second version of architecture </a:t>
            </a:r>
            <a:br>
              <a:rPr lang="en-US" b="1" dirty="0" smtClean="0"/>
            </a:br>
            <a:r>
              <a:rPr lang="en-US" b="1" dirty="0" smtClean="0"/>
              <a:t>(already in production )</a:t>
            </a:r>
            <a:endParaRPr lang="ru-RU" b="1" dirty="0"/>
          </a:p>
        </p:txBody>
      </p:sp>
      <p:sp>
        <p:nvSpPr>
          <p:cNvPr id="6" name="TextBox 5"/>
          <p:cNvSpPr txBox="1"/>
          <p:nvPr/>
        </p:nvSpPr>
        <p:spPr>
          <a:xfrm>
            <a:off x="2498785" y="8485416"/>
            <a:ext cx="5104866" cy="307777"/>
          </a:xfrm>
          <a:prstGeom prst="rect">
            <a:avLst/>
          </a:prstGeom>
          <a:noFill/>
          <a:ln>
            <a:solidFill>
              <a:schemeClr val="tx2">
                <a:lumMod val="20000"/>
                <a:lumOff val="80000"/>
              </a:schemeClr>
            </a:solidFill>
          </a:ln>
        </p:spPr>
        <p:txBody>
          <a:bodyPr wrap="square" rtlCol="0">
            <a:spAutoFit/>
          </a:bodyPr>
          <a:lstStyle/>
          <a:p>
            <a:r>
              <a:rPr lang="en-US" sz="1400" b="1" i="1" dirty="0">
                <a:solidFill>
                  <a:srgbClr val="FF0000"/>
                </a:solidFill>
              </a:rPr>
              <a:t>Use Checklist and Guidelines in Notes section before you submit</a:t>
            </a:r>
          </a:p>
        </p:txBody>
      </p:sp>
      <p:sp>
        <p:nvSpPr>
          <p:cNvPr id="9" name="TextBox 8"/>
          <p:cNvSpPr txBox="1"/>
          <p:nvPr/>
        </p:nvSpPr>
        <p:spPr>
          <a:xfrm>
            <a:off x="106157" y="2802969"/>
            <a:ext cx="4803625" cy="2292935"/>
          </a:xfrm>
          <a:prstGeom prst="rect">
            <a:avLst/>
          </a:prstGeom>
          <a:noFill/>
        </p:spPr>
        <p:txBody>
          <a:bodyPr wrap="square" rtlCol="0">
            <a:spAutoFit/>
          </a:bodyPr>
          <a:lstStyle/>
          <a:p>
            <a:r>
              <a:rPr lang="en-US" sz="2800" dirty="0"/>
              <a:t>b</a:t>
            </a:r>
            <a:r>
              <a:rPr lang="en-US" sz="2800" dirty="0" smtClean="0"/>
              <a:t>okov.net  (faked link)</a:t>
            </a:r>
            <a:endParaRPr lang="en-US" sz="2800" dirty="0"/>
          </a:p>
          <a:p>
            <a:endParaRPr lang="en-US" sz="1200" dirty="0"/>
          </a:p>
          <a:p>
            <a:pPr marL="342900" indent="-342900">
              <a:spcAft>
                <a:spcPts val="600"/>
              </a:spcAft>
              <a:buFont typeface="Arial" panose="020B0604020202020204" pitchFamily="34" charset="0"/>
              <a:buChar char="•"/>
            </a:pPr>
            <a:r>
              <a:rPr lang="en-US" dirty="0" smtClean="0"/>
              <a:t>ASP.NET + Node.js</a:t>
            </a:r>
            <a:endParaRPr lang="ru-RU" dirty="0" smtClean="0"/>
          </a:p>
          <a:p>
            <a:pPr marL="342900" indent="-342900">
              <a:spcAft>
                <a:spcPts val="600"/>
              </a:spcAft>
              <a:buFont typeface="Arial" panose="020B0604020202020204" pitchFamily="34" charset="0"/>
              <a:buChar char="•"/>
            </a:pPr>
            <a:r>
              <a:rPr lang="en-US" dirty="0" smtClean="0"/>
              <a:t>Azure websites with</a:t>
            </a:r>
            <a:r>
              <a:rPr lang="ru-RU" dirty="0" smtClean="0"/>
              <a:t> </a:t>
            </a:r>
            <a:r>
              <a:rPr lang="en-US" sz="2400" dirty="0"/>
              <a:t>4</a:t>
            </a:r>
            <a:r>
              <a:rPr lang="en-US" dirty="0" smtClean="0"/>
              <a:t> standard instances</a:t>
            </a:r>
          </a:p>
          <a:p>
            <a:pPr marL="342900" indent="-342900">
              <a:spcAft>
                <a:spcPts val="600"/>
              </a:spcAft>
              <a:buFont typeface="Arial" panose="020B0604020202020204" pitchFamily="34" charset="0"/>
              <a:buChar char="•"/>
            </a:pPr>
            <a:r>
              <a:rPr lang="en-US" sz="2800" b="1" dirty="0" smtClean="0"/>
              <a:t>5 deployments WW</a:t>
            </a:r>
          </a:p>
          <a:p>
            <a:pPr marL="342900" indent="-342900">
              <a:spcAft>
                <a:spcPts val="600"/>
              </a:spcAft>
              <a:buFont typeface="Arial" panose="020B0604020202020204" pitchFamily="34" charset="0"/>
              <a:buChar char="•"/>
            </a:pPr>
            <a:endParaRPr lang="ru-RU" dirty="0"/>
          </a:p>
        </p:txBody>
      </p:sp>
      <p:pic>
        <p:nvPicPr>
          <p:cNvPr id="10" name="Picture 9"/>
          <p:cNvPicPr>
            <a:picLocks noChangeAspect="1"/>
          </p:cNvPicPr>
          <p:nvPr/>
        </p:nvPicPr>
        <p:blipFill>
          <a:blip r:embed="rId3"/>
          <a:stretch>
            <a:fillRect/>
          </a:stretch>
        </p:blipFill>
        <p:spPr>
          <a:xfrm>
            <a:off x="5051218" y="884961"/>
            <a:ext cx="2225681" cy="2225681"/>
          </a:xfrm>
          <a:prstGeom prst="rect">
            <a:avLst/>
          </a:prstGeom>
        </p:spPr>
      </p:pic>
      <p:sp>
        <p:nvSpPr>
          <p:cNvPr id="11" name="TextBox 10"/>
          <p:cNvSpPr txBox="1"/>
          <p:nvPr/>
        </p:nvSpPr>
        <p:spPr>
          <a:xfrm>
            <a:off x="4794544" y="2869907"/>
            <a:ext cx="4108824" cy="1692771"/>
          </a:xfrm>
          <a:prstGeom prst="rect">
            <a:avLst/>
          </a:prstGeom>
          <a:noFill/>
        </p:spPr>
        <p:txBody>
          <a:bodyPr wrap="square" rtlCol="0">
            <a:spAutoFit/>
          </a:bodyPr>
          <a:lstStyle/>
          <a:p>
            <a:r>
              <a:rPr lang="en-US" sz="2800" dirty="0" smtClean="0"/>
              <a:t>Data storages</a:t>
            </a:r>
            <a:r>
              <a:rPr lang="en-US" sz="2800" dirty="0"/>
              <a:t/>
            </a:r>
            <a:br>
              <a:rPr lang="en-US" sz="2800" dirty="0"/>
            </a:br>
            <a:endParaRPr lang="en-US" sz="1200" b="1" dirty="0"/>
          </a:p>
          <a:p>
            <a:pPr marL="342900" indent="-342900">
              <a:spcAft>
                <a:spcPts val="600"/>
              </a:spcAft>
              <a:buFont typeface="Arial" panose="020B0604020202020204" pitchFamily="34" charset="0"/>
              <a:buChar char="•"/>
            </a:pPr>
            <a:r>
              <a:rPr lang="en-US" b="1" dirty="0" smtClean="0"/>
              <a:t>Images, CSS, </a:t>
            </a:r>
            <a:r>
              <a:rPr lang="en-US" b="1" dirty="0" err="1" smtClean="0"/>
              <a:t>swf</a:t>
            </a:r>
            <a:r>
              <a:rPr lang="en-US" b="1" dirty="0" smtClean="0"/>
              <a:t> on blobs + CDN</a:t>
            </a:r>
          </a:p>
          <a:p>
            <a:pPr marL="342900" indent="-342900">
              <a:spcAft>
                <a:spcPts val="600"/>
              </a:spcAft>
              <a:buFont typeface="Arial" panose="020B0604020202020204" pitchFamily="34" charset="0"/>
              <a:buChar char="•"/>
            </a:pPr>
            <a:r>
              <a:rPr lang="en-US" b="1" dirty="0" smtClean="0">
                <a:sym typeface="Wingdings" panose="05000000000000000000" pitchFamily="2" charset="2"/>
              </a:rPr>
              <a:t>SQL Azure business tier</a:t>
            </a:r>
          </a:p>
          <a:p>
            <a:pPr marL="342900" indent="-342900">
              <a:spcAft>
                <a:spcPts val="600"/>
              </a:spcAft>
              <a:buFont typeface="Arial" panose="020B0604020202020204" pitchFamily="34" charset="0"/>
              <a:buChar char="•"/>
            </a:pPr>
            <a:r>
              <a:rPr lang="en-US" b="1" dirty="0" smtClean="0">
                <a:sym typeface="Wingdings" panose="05000000000000000000" pitchFamily="2" charset="2"/>
              </a:rPr>
              <a:t>Simple failover logic involved</a:t>
            </a:r>
            <a:endParaRPr lang="en-US" b="1" dirty="0" smtClean="0"/>
          </a:p>
        </p:txBody>
      </p:sp>
      <p:pic>
        <p:nvPicPr>
          <p:cNvPr id="1026" name="Picture 2" descr="http://www.manageengine.com/products/qengine/images/load-testing.gif"/>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1714" y="5391121"/>
            <a:ext cx="1666875" cy="1428750"/>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p:cNvSpPr txBox="1"/>
          <p:nvPr/>
        </p:nvSpPr>
        <p:spPr>
          <a:xfrm>
            <a:off x="1918158" y="5341707"/>
            <a:ext cx="4245900" cy="1323439"/>
          </a:xfrm>
          <a:prstGeom prst="rect">
            <a:avLst/>
          </a:prstGeom>
          <a:noFill/>
        </p:spPr>
        <p:txBody>
          <a:bodyPr wrap="square" rtlCol="0">
            <a:spAutoFit/>
          </a:bodyPr>
          <a:lstStyle/>
          <a:p>
            <a:r>
              <a:rPr lang="en-US" sz="2800" dirty="0" smtClean="0"/>
              <a:t>Traffic</a:t>
            </a:r>
          </a:p>
          <a:p>
            <a:endParaRPr lang="en-US" sz="1200" dirty="0"/>
          </a:p>
          <a:p>
            <a:pPr marL="342900" indent="-342900">
              <a:spcAft>
                <a:spcPts val="600"/>
              </a:spcAft>
              <a:buFont typeface="Arial" panose="020B0604020202020204" pitchFamily="34" charset="0"/>
              <a:buChar char="•"/>
            </a:pPr>
            <a:r>
              <a:rPr lang="en-US" sz="2000" b="1" dirty="0" smtClean="0"/>
              <a:t>16 M/day in a same time ~ 20-40k hits/sec </a:t>
            </a:r>
            <a:endParaRPr lang="ru-RU" sz="2000" b="1" dirty="0"/>
          </a:p>
        </p:txBody>
      </p:sp>
      <p:sp>
        <p:nvSpPr>
          <p:cNvPr id="12" name="TextBox 11"/>
          <p:cNvSpPr txBox="1"/>
          <p:nvPr/>
        </p:nvSpPr>
        <p:spPr>
          <a:xfrm>
            <a:off x="5643900" y="4850101"/>
            <a:ext cx="6676437" cy="984885"/>
          </a:xfrm>
          <a:prstGeom prst="rect">
            <a:avLst/>
          </a:prstGeom>
          <a:noFill/>
        </p:spPr>
        <p:txBody>
          <a:bodyPr wrap="square" rtlCol="0">
            <a:spAutoFit/>
          </a:bodyPr>
          <a:lstStyle/>
          <a:p>
            <a:r>
              <a:rPr lang="en-US" sz="2800" dirty="0" smtClean="0"/>
              <a:t>DNS </a:t>
            </a:r>
            <a:r>
              <a:rPr lang="en-US" sz="2800" dirty="0"/>
              <a:t/>
            </a:r>
            <a:br>
              <a:rPr lang="en-US" sz="2800" dirty="0"/>
            </a:br>
            <a:endParaRPr lang="en-US" sz="1200" dirty="0"/>
          </a:p>
          <a:p>
            <a:pPr marL="342900" indent="-342900">
              <a:spcAft>
                <a:spcPts val="600"/>
              </a:spcAft>
              <a:buFont typeface="Arial" panose="020B0604020202020204" pitchFamily="34" charset="0"/>
              <a:buChar char="•"/>
            </a:pPr>
            <a:r>
              <a:rPr lang="ru-RU" b="1" dirty="0" smtClean="0">
                <a:sym typeface="Wingdings" panose="05000000000000000000" pitchFamily="2" charset="2"/>
              </a:rPr>
              <a:t>Не работает</a:t>
            </a:r>
            <a:r>
              <a:rPr lang="en-US" b="1" dirty="0" smtClean="0">
                <a:sym typeface="Wingdings" panose="05000000000000000000" pitchFamily="2" charset="2"/>
              </a:rPr>
              <a:t> Bokov.net -&gt; bokov.trafficmanager.net</a:t>
            </a:r>
          </a:p>
        </p:txBody>
      </p:sp>
      <p:pic>
        <p:nvPicPr>
          <p:cNvPr id="2050" name="Picture 2" descr="http://www.anthonykarnowski.com/wp-content/uploads/2014/04/loadTest.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186240" y="2568244"/>
            <a:ext cx="2185529" cy="1451274"/>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p:cNvSpPr txBox="1"/>
          <p:nvPr/>
        </p:nvSpPr>
        <p:spPr>
          <a:xfrm>
            <a:off x="8772640" y="4040425"/>
            <a:ext cx="3226855" cy="369332"/>
          </a:xfrm>
          <a:prstGeom prst="rect">
            <a:avLst/>
          </a:prstGeom>
          <a:noFill/>
        </p:spPr>
        <p:txBody>
          <a:bodyPr wrap="square" rtlCol="0">
            <a:spAutoFit/>
          </a:bodyPr>
          <a:lstStyle/>
          <a:p>
            <a:pPr marL="342900" indent="-342900">
              <a:spcAft>
                <a:spcPts val="600"/>
              </a:spcAft>
              <a:buFont typeface="Arial" panose="020B0604020202020204" pitchFamily="34" charset="0"/>
              <a:buChar char="•"/>
            </a:pPr>
            <a:r>
              <a:rPr lang="en-US" b="1" dirty="0" smtClean="0"/>
              <a:t>20% CPU load at peak</a:t>
            </a:r>
          </a:p>
        </p:txBody>
      </p:sp>
    </p:spTree>
    <p:extLst>
      <p:ext uri="{BB962C8B-B14F-4D97-AF65-F5344CB8AC3E}">
        <p14:creationId xmlns:p14="http://schemas.microsoft.com/office/powerpoint/2010/main" val="191234373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0621" y="452748"/>
            <a:ext cx="10297800" cy="720000"/>
          </a:xfrm>
        </p:spPr>
        <p:txBody>
          <a:bodyPr>
            <a:noAutofit/>
          </a:bodyPr>
          <a:lstStyle/>
          <a:p>
            <a:r>
              <a:rPr lang="en-US" sz="6600" b="1" dirty="0" smtClean="0"/>
              <a:t>Issues</a:t>
            </a:r>
            <a:endParaRPr lang="ru-RU" sz="6600" b="1" dirty="0"/>
          </a:p>
        </p:txBody>
      </p:sp>
      <p:sp>
        <p:nvSpPr>
          <p:cNvPr id="3" name="TextBox 2"/>
          <p:cNvSpPr txBox="1"/>
          <p:nvPr/>
        </p:nvSpPr>
        <p:spPr>
          <a:xfrm>
            <a:off x="385011" y="1334842"/>
            <a:ext cx="11582400" cy="3539430"/>
          </a:xfrm>
          <a:prstGeom prst="rect">
            <a:avLst/>
          </a:prstGeom>
          <a:noFill/>
        </p:spPr>
        <p:txBody>
          <a:bodyPr wrap="square" rtlCol="0">
            <a:spAutoFit/>
          </a:bodyPr>
          <a:lstStyle/>
          <a:p>
            <a:pPr marL="457200" indent="-457200">
              <a:buFont typeface="Arial" panose="020B0604020202020204" pitchFamily="34" charset="0"/>
              <a:buChar char="•"/>
            </a:pPr>
            <a:r>
              <a:rPr lang="en-US" sz="3200" dirty="0" smtClean="0"/>
              <a:t>DB</a:t>
            </a:r>
            <a:r>
              <a:rPr lang="ru-RU" sz="3200" dirty="0" smtClean="0"/>
              <a:t> используется для информации о регистрация, счетчик на главной странице – проблемы с перформансом</a:t>
            </a:r>
          </a:p>
          <a:p>
            <a:pPr marL="457200" indent="-457200">
              <a:buFont typeface="Arial" panose="020B0604020202020204" pitchFamily="34" charset="0"/>
              <a:buChar char="•"/>
            </a:pPr>
            <a:r>
              <a:rPr lang="ru-RU" sz="3200" dirty="0" smtClean="0"/>
              <a:t>Тех поддержка </a:t>
            </a:r>
            <a:r>
              <a:rPr lang="en-US" sz="3200" dirty="0" smtClean="0"/>
              <a:t>MSDN developer support (</a:t>
            </a:r>
            <a:r>
              <a:rPr lang="en-US" sz="3200" dirty="0" err="1" smtClean="0"/>
              <a:t>Sev</a:t>
            </a:r>
            <a:r>
              <a:rPr lang="en-US" sz="3200" dirty="0" smtClean="0"/>
              <a:t> C)</a:t>
            </a:r>
            <a:r>
              <a:rPr lang="ru-RU" sz="3200" dirty="0" smtClean="0"/>
              <a:t> явно не подходит</a:t>
            </a:r>
            <a:endParaRPr lang="en-US" sz="3200" dirty="0" smtClean="0"/>
          </a:p>
          <a:p>
            <a:pPr marL="457200" indent="-457200">
              <a:buFont typeface="Arial" panose="020B0604020202020204" pitchFamily="34" charset="0"/>
              <a:buChar char="•"/>
            </a:pPr>
            <a:r>
              <a:rPr lang="ru-RU" sz="3200" dirty="0" smtClean="0"/>
              <a:t>Все еще есть </a:t>
            </a:r>
            <a:r>
              <a:rPr lang="en-US" sz="3200" dirty="0" smtClean="0"/>
              <a:t>single point of failure</a:t>
            </a:r>
          </a:p>
          <a:p>
            <a:pPr marL="457200" indent="-457200">
              <a:buFont typeface="Arial" panose="020B0604020202020204" pitchFamily="34" charset="0"/>
              <a:buChar char="•"/>
            </a:pPr>
            <a:endParaRPr lang="en-US" sz="3200" dirty="0" smtClean="0"/>
          </a:p>
          <a:p>
            <a:pPr marL="457200" indent="-457200">
              <a:buFont typeface="Arial" panose="020B0604020202020204" pitchFamily="34" charset="0"/>
              <a:buChar char="•"/>
            </a:pPr>
            <a:endParaRPr lang="en-US" sz="3200" dirty="0" smtClean="0"/>
          </a:p>
        </p:txBody>
      </p:sp>
    </p:spTree>
    <p:extLst>
      <p:ext uri="{BB962C8B-B14F-4D97-AF65-F5344CB8AC3E}">
        <p14:creationId xmlns:p14="http://schemas.microsoft.com/office/powerpoint/2010/main" val="59639477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0621" y="452748"/>
            <a:ext cx="10297800" cy="720000"/>
          </a:xfrm>
        </p:spPr>
        <p:txBody>
          <a:bodyPr>
            <a:noAutofit/>
          </a:bodyPr>
          <a:lstStyle/>
          <a:p>
            <a:r>
              <a:rPr lang="en-US" sz="6600" b="1" dirty="0" smtClean="0"/>
              <a:t>Actions</a:t>
            </a:r>
            <a:endParaRPr lang="ru-RU" sz="6600" b="1" dirty="0"/>
          </a:p>
        </p:txBody>
      </p:sp>
      <p:sp>
        <p:nvSpPr>
          <p:cNvPr id="3" name="TextBox 2"/>
          <p:cNvSpPr txBox="1"/>
          <p:nvPr/>
        </p:nvSpPr>
        <p:spPr>
          <a:xfrm>
            <a:off x="449178" y="1623600"/>
            <a:ext cx="11742821" cy="4524315"/>
          </a:xfrm>
          <a:prstGeom prst="rect">
            <a:avLst/>
          </a:prstGeom>
          <a:noFill/>
        </p:spPr>
        <p:txBody>
          <a:bodyPr wrap="square" rtlCol="0">
            <a:spAutoFit/>
          </a:bodyPr>
          <a:lstStyle/>
          <a:p>
            <a:pPr marL="457200" indent="-457200">
              <a:buFont typeface="Arial" panose="020B0604020202020204" pitchFamily="34" charset="0"/>
              <a:buChar char="•"/>
            </a:pPr>
            <a:r>
              <a:rPr lang="ru-RU" sz="3200" dirty="0" smtClean="0"/>
              <a:t>Используем асинхронные запросы для счетчика на главной</a:t>
            </a:r>
          </a:p>
          <a:p>
            <a:pPr marL="457200" indent="-457200">
              <a:buFont typeface="Arial" panose="020B0604020202020204" pitchFamily="34" charset="0"/>
              <a:buChar char="•"/>
            </a:pPr>
            <a:r>
              <a:rPr lang="ru-RU" sz="3200" dirty="0" smtClean="0"/>
              <a:t>Прямой контакт ( сделали несколько тикетов ) с тех саппортов</a:t>
            </a:r>
          </a:p>
          <a:p>
            <a:pPr marL="457200" indent="-457200">
              <a:buFont typeface="Arial" panose="020B0604020202020204" pitchFamily="34" charset="0"/>
              <a:buChar char="•"/>
            </a:pPr>
            <a:r>
              <a:rPr lang="ru-RU" sz="3200" dirty="0" smtClean="0"/>
              <a:t>Подключили тех саппорт </a:t>
            </a:r>
            <a:r>
              <a:rPr lang="en-US" sz="3200" dirty="0" smtClean="0"/>
              <a:t>DNS </a:t>
            </a:r>
            <a:r>
              <a:rPr lang="ru-RU" sz="3200" dirty="0" smtClean="0"/>
              <a:t>хостера</a:t>
            </a:r>
            <a:endParaRPr lang="en-US" sz="3200" dirty="0" smtClean="0"/>
          </a:p>
          <a:p>
            <a:pPr marL="457200" indent="-457200">
              <a:buFont typeface="Arial" panose="020B0604020202020204" pitchFamily="34" charset="0"/>
              <a:buChar char="•"/>
            </a:pPr>
            <a:r>
              <a:rPr lang="ru-RU" sz="3200" dirty="0" smtClean="0"/>
              <a:t>Придумали схему</a:t>
            </a:r>
            <a:r>
              <a:rPr lang="en-US" sz="3200" dirty="0" smtClean="0"/>
              <a:t> :</a:t>
            </a:r>
          </a:p>
          <a:p>
            <a:pPr marL="914400" lvl="1" indent="-457200">
              <a:buFont typeface="Arial" panose="020B0604020202020204" pitchFamily="34" charset="0"/>
              <a:buChar char="•"/>
            </a:pPr>
            <a:r>
              <a:rPr lang="en-US" sz="3200" u="sng" dirty="0" smtClean="0"/>
              <a:t>www.bokov.net</a:t>
            </a:r>
            <a:r>
              <a:rPr lang="en-US" sz="3200" dirty="0" smtClean="0"/>
              <a:t> -&gt; </a:t>
            </a:r>
            <a:r>
              <a:rPr lang="en-US" sz="3200" u="sng" dirty="0" smtClean="0"/>
              <a:t>bokov.trafficmanager.net</a:t>
            </a:r>
          </a:p>
          <a:p>
            <a:pPr marL="914400" lvl="1" indent="-457200">
              <a:buFont typeface="Arial" panose="020B0604020202020204" pitchFamily="34" charset="0"/>
              <a:buChar char="•"/>
            </a:pPr>
            <a:r>
              <a:rPr lang="en-US" sz="3200" u="sng" dirty="0"/>
              <a:t>b</a:t>
            </a:r>
            <a:r>
              <a:rPr lang="en-US" sz="3200" u="sng" dirty="0" smtClean="0"/>
              <a:t>okov.net</a:t>
            </a:r>
            <a:r>
              <a:rPr lang="en-US" sz="3200" dirty="0" smtClean="0"/>
              <a:t> -&gt; </a:t>
            </a:r>
            <a:r>
              <a:rPr lang="en-US" sz="3200" dirty="0" err="1" smtClean="0"/>
              <a:t>on-premise</a:t>
            </a:r>
            <a:r>
              <a:rPr lang="en-US" sz="3200" dirty="0" smtClean="0"/>
              <a:t> </a:t>
            </a:r>
            <a:r>
              <a:rPr lang="en-US" sz="3200" dirty="0" err="1" smtClean="0"/>
              <a:t>nginx</a:t>
            </a:r>
            <a:r>
              <a:rPr lang="en-US" sz="3200" dirty="0" smtClean="0"/>
              <a:t> -&gt; </a:t>
            </a:r>
            <a:r>
              <a:rPr lang="en-US" sz="3200" u="sng" dirty="0"/>
              <a:t>b</a:t>
            </a:r>
            <a:r>
              <a:rPr lang="en-US" sz="3200" u="sng" dirty="0" smtClean="0"/>
              <a:t>okov.trafficmanager.net</a:t>
            </a:r>
          </a:p>
          <a:p>
            <a:pPr marL="914400" lvl="1" indent="-457200">
              <a:buFont typeface="Arial" panose="020B0604020202020204" pitchFamily="34" charset="0"/>
              <a:buChar char="•"/>
            </a:pPr>
            <a:endParaRPr lang="en-US" sz="3200" dirty="0"/>
          </a:p>
        </p:txBody>
      </p:sp>
    </p:spTree>
    <p:extLst>
      <p:ext uri="{BB962C8B-B14F-4D97-AF65-F5344CB8AC3E}">
        <p14:creationId xmlns:p14="http://schemas.microsoft.com/office/powerpoint/2010/main" val="337237711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7593" y="344887"/>
            <a:ext cx="10297800" cy="720000"/>
          </a:xfrm>
        </p:spPr>
        <p:txBody>
          <a:bodyPr>
            <a:noAutofit/>
          </a:bodyPr>
          <a:lstStyle/>
          <a:p>
            <a:r>
              <a:rPr lang="en-US" sz="4400" b="1" dirty="0"/>
              <a:t>3</a:t>
            </a:r>
            <a:r>
              <a:rPr lang="en-US" sz="4400" b="1" dirty="0" smtClean="0"/>
              <a:t>rd version of architecture </a:t>
            </a:r>
            <a:br>
              <a:rPr lang="en-US" sz="4400" b="1" dirty="0" smtClean="0"/>
            </a:br>
            <a:endParaRPr lang="ru-RU" sz="4400" b="1" dirty="0"/>
          </a:p>
        </p:txBody>
      </p:sp>
      <p:sp>
        <p:nvSpPr>
          <p:cNvPr id="6" name="TextBox 5"/>
          <p:cNvSpPr txBox="1"/>
          <p:nvPr/>
        </p:nvSpPr>
        <p:spPr>
          <a:xfrm>
            <a:off x="2498785" y="8485416"/>
            <a:ext cx="5104866" cy="307777"/>
          </a:xfrm>
          <a:prstGeom prst="rect">
            <a:avLst/>
          </a:prstGeom>
          <a:noFill/>
          <a:ln>
            <a:solidFill>
              <a:schemeClr val="tx2">
                <a:lumMod val="20000"/>
                <a:lumOff val="80000"/>
              </a:schemeClr>
            </a:solidFill>
          </a:ln>
        </p:spPr>
        <p:txBody>
          <a:bodyPr wrap="square" rtlCol="0">
            <a:spAutoFit/>
          </a:bodyPr>
          <a:lstStyle/>
          <a:p>
            <a:r>
              <a:rPr lang="en-US" sz="1400" b="1" i="1" dirty="0">
                <a:solidFill>
                  <a:srgbClr val="FF0000"/>
                </a:solidFill>
              </a:rPr>
              <a:t>Use Checklist and Guidelines in Notes section before you submit</a:t>
            </a:r>
          </a:p>
        </p:txBody>
      </p:sp>
      <p:sp>
        <p:nvSpPr>
          <p:cNvPr id="9" name="TextBox 8"/>
          <p:cNvSpPr txBox="1"/>
          <p:nvPr/>
        </p:nvSpPr>
        <p:spPr>
          <a:xfrm>
            <a:off x="247593" y="2898750"/>
            <a:ext cx="4803625" cy="2108269"/>
          </a:xfrm>
          <a:prstGeom prst="rect">
            <a:avLst/>
          </a:prstGeom>
          <a:noFill/>
        </p:spPr>
        <p:txBody>
          <a:bodyPr wrap="square" rtlCol="0">
            <a:spAutoFit/>
          </a:bodyPr>
          <a:lstStyle/>
          <a:p>
            <a:r>
              <a:rPr lang="en-US" sz="2800" dirty="0" smtClean="0"/>
              <a:t>http://</a:t>
            </a:r>
            <a:r>
              <a:rPr lang="en-US" sz="2800" dirty="0"/>
              <a:t>b</a:t>
            </a:r>
            <a:r>
              <a:rPr lang="en-US" sz="2800" dirty="0" smtClean="0"/>
              <a:t>okov.net</a:t>
            </a:r>
          </a:p>
          <a:p>
            <a:endParaRPr lang="en-US" sz="1200" dirty="0"/>
          </a:p>
          <a:p>
            <a:pPr marL="342900" indent="-342900">
              <a:spcAft>
                <a:spcPts val="600"/>
              </a:spcAft>
              <a:buFont typeface="Arial" panose="020B0604020202020204" pitchFamily="34" charset="0"/>
              <a:buChar char="•"/>
            </a:pPr>
            <a:r>
              <a:rPr lang="en-US" dirty="0" smtClean="0"/>
              <a:t>ASP.NET + Node.js</a:t>
            </a:r>
            <a:endParaRPr lang="ru-RU" dirty="0" smtClean="0"/>
          </a:p>
          <a:p>
            <a:pPr marL="342900" indent="-342900">
              <a:spcAft>
                <a:spcPts val="600"/>
              </a:spcAft>
              <a:buFont typeface="Arial" panose="020B0604020202020204" pitchFamily="34" charset="0"/>
              <a:buChar char="•"/>
            </a:pPr>
            <a:r>
              <a:rPr lang="en-US" sz="1600" dirty="0" smtClean="0"/>
              <a:t>Azure websites with</a:t>
            </a:r>
            <a:r>
              <a:rPr lang="ru-RU" sz="1600" dirty="0" smtClean="0"/>
              <a:t> </a:t>
            </a:r>
            <a:r>
              <a:rPr lang="en-US" sz="2000" dirty="0"/>
              <a:t>4</a:t>
            </a:r>
            <a:r>
              <a:rPr lang="en-US" sz="1600" dirty="0" smtClean="0"/>
              <a:t> standard instances</a:t>
            </a:r>
          </a:p>
          <a:p>
            <a:pPr marL="342900" indent="-342900">
              <a:spcAft>
                <a:spcPts val="600"/>
              </a:spcAft>
              <a:buFont typeface="Arial" panose="020B0604020202020204" pitchFamily="34" charset="0"/>
              <a:buChar char="•"/>
            </a:pPr>
            <a:r>
              <a:rPr lang="en-US" sz="2000" dirty="0" smtClean="0"/>
              <a:t>5 deployments WW</a:t>
            </a:r>
          </a:p>
          <a:p>
            <a:pPr marL="342900" indent="-342900">
              <a:spcAft>
                <a:spcPts val="600"/>
              </a:spcAft>
              <a:buFont typeface="Arial" panose="020B0604020202020204" pitchFamily="34" charset="0"/>
              <a:buChar char="•"/>
            </a:pPr>
            <a:endParaRPr lang="ru-RU" dirty="0"/>
          </a:p>
        </p:txBody>
      </p:sp>
      <p:pic>
        <p:nvPicPr>
          <p:cNvPr id="10" name="Picture 9"/>
          <p:cNvPicPr>
            <a:picLocks noChangeAspect="1"/>
          </p:cNvPicPr>
          <p:nvPr/>
        </p:nvPicPr>
        <p:blipFill>
          <a:blip r:embed="rId3"/>
          <a:stretch>
            <a:fillRect/>
          </a:stretch>
        </p:blipFill>
        <p:spPr>
          <a:xfrm>
            <a:off x="5051218" y="884961"/>
            <a:ext cx="2225681" cy="2225681"/>
          </a:xfrm>
          <a:prstGeom prst="rect">
            <a:avLst/>
          </a:prstGeom>
        </p:spPr>
      </p:pic>
      <p:sp>
        <p:nvSpPr>
          <p:cNvPr id="11" name="TextBox 10"/>
          <p:cNvSpPr txBox="1"/>
          <p:nvPr/>
        </p:nvSpPr>
        <p:spPr>
          <a:xfrm>
            <a:off x="4794544" y="2869907"/>
            <a:ext cx="3932361" cy="2139047"/>
          </a:xfrm>
          <a:prstGeom prst="rect">
            <a:avLst/>
          </a:prstGeom>
          <a:noFill/>
        </p:spPr>
        <p:txBody>
          <a:bodyPr wrap="square" rtlCol="0">
            <a:spAutoFit/>
          </a:bodyPr>
          <a:lstStyle/>
          <a:p>
            <a:r>
              <a:rPr lang="en-US" sz="2800" dirty="0" smtClean="0"/>
              <a:t>Data storages</a:t>
            </a:r>
            <a:r>
              <a:rPr lang="en-US" sz="2800" dirty="0"/>
              <a:t/>
            </a:r>
            <a:br>
              <a:rPr lang="en-US" sz="2800" dirty="0"/>
            </a:br>
            <a:endParaRPr lang="en-US" sz="1200" dirty="0"/>
          </a:p>
          <a:p>
            <a:pPr marL="342900" indent="-342900">
              <a:spcAft>
                <a:spcPts val="600"/>
              </a:spcAft>
              <a:buFont typeface="Arial" panose="020B0604020202020204" pitchFamily="34" charset="0"/>
              <a:buChar char="•"/>
            </a:pPr>
            <a:r>
              <a:rPr lang="en-US" dirty="0" smtClean="0"/>
              <a:t>Images, CSS, </a:t>
            </a:r>
            <a:r>
              <a:rPr lang="en-US" dirty="0" err="1" smtClean="0"/>
              <a:t>swf</a:t>
            </a:r>
            <a:r>
              <a:rPr lang="en-US" dirty="0" smtClean="0"/>
              <a:t> on blobs + CDN</a:t>
            </a:r>
          </a:p>
          <a:p>
            <a:pPr marL="342900" indent="-342900">
              <a:spcAft>
                <a:spcPts val="600"/>
              </a:spcAft>
              <a:buFont typeface="Arial" panose="020B0604020202020204" pitchFamily="34" charset="0"/>
              <a:buChar char="•"/>
            </a:pPr>
            <a:r>
              <a:rPr lang="en-US" dirty="0" smtClean="0">
                <a:sym typeface="Wingdings" panose="05000000000000000000" pitchFamily="2" charset="2"/>
              </a:rPr>
              <a:t>SQL Azure business tier</a:t>
            </a:r>
          </a:p>
          <a:p>
            <a:pPr marL="342900" indent="-342900">
              <a:spcAft>
                <a:spcPts val="600"/>
              </a:spcAft>
              <a:buFont typeface="Arial" panose="020B0604020202020204" pitchFamily="34" charset="0"/>
              <a:buChar char="•"/>
            </a:pPr>
            <a:r>
              <a:rPr lang="en-US" dirty="0" smtClean="0">
                <a:sym typeface="Wingdings" panose="05000000000000000000" pitchFamily="2" charset="2"/>
              </a:rPr>
              <a:t>Simple failover logic involved</a:t>
            </a:r>
          </a:p>
          <a:p>
            <a:pPr marL="342900" indent="-342900">
              <a:spcAft>
                <a:spcPts val="600"/>
              </a:spcAft>
              <a:buFont typeface="Arial" panose="020B0604020202020204" pitchFamily="34" charset="0"/>
              <a:buChar char="•"/>
            </a:pPr>
            <a:r>
              <a:rPr lang="en-US" sz="2400" b="1" dirty="0" err="1" smtClean="0">
                <a:sym typeface="Wingdings" panose="05000000000000000000" pitchFamily="2" charset="2"/>
              </a:rPr>
              <a:t>Async</a:t>
            </a:r>
            <a:r>
              <a:rPr lang="en-US" sz="2400" b="1" dirty="0" smtClean="0">
                <a:sym typeface="Wingdings" panose="05000000000000000000" pitchFamily="2" charset="2"/>
              </a:rPr>
              <a:t> access to DB</a:t>
            </a:r>
            <a:endParaRPr lang="en-US" sz="2400" b="1" dirty="0" smtClean="0"/>
          </a:p>
        </p:txBody>
      </p:sp>
      <p:pic>
        <p:nvPicPr>
          <p:cNvPr id="13" name="Picture 12"/>
          <p:cNvPicPr>
            <a:picLocks noChangeAspect="1"/>
          </p:cNvPicPr>
          <p:nvPr/>
        </p:nvPicPr>
        <p:blipFill>
          <a:blip r:embed="rId4"/>
          <a:stretch>
            <a:fillRect/>
          </a:stretch>
        </p:blipFill>
        <p:spPr>
          <a:xfrm>
            <a:off x="8075728" y="308062"/>
            <a:ext cx="1933575" cy="447675"/>
          </a:xfrm>
          <a:prstGeom prst="rect">
            <a:avLst/>
          </a:prstGeom>
        </p:spPr>
      </p:pic>
      <p:sp>
        <p:nvSpPr>
          <p:cNvPr id="14" name="TextBox 13"/>
          <p:cNvSpPr txBox="1"/>
          <p:nvPr/>
        </p:nvSpPr>
        <p:spPr>
          <a:xfrm>
            <a:off x="7898744" y="905370"/>
            <a:ext cx="3932361" cy="1015663"/>
          </a:xfrm>
          <a:prstGeom prst="rect">
            <a:avLst/>
          </a:prstGeom>
          <a:noFill/>
        </p:spPr>
        <p:txBody>
          <a:bodyPr wrap="square" rtlCol="0">
            <a:spAutoFit/>
          </a:bodyPr>
          <a:lstStyle/>
          <a:p>
            <a:pPr marL="342900" indent="-342900">
              <a:spcAft>
                <a:spcPts val="600"/>
              </a:spcAft>
              <a:buFont typeface="Arial" panose="020B0604020202020204" pitchFamily="34" charset="0"/>
              <a:buChar char="•"/>
            </a:pPr>
            <a:r>
              <a:rPr lang="en-US" sz="2000" b="1" dirty="0" smtClean="0"/>
              <a:t>As exception they will do </a:t>
            </a:r>
            <a:r>
              <a:rPr lang="en-US" sz="2000" b="1" dirty="0" err="1" smtClean="0"/>
              <a:t>SevA</a:t>
            </a:r>
            <a:r>
              <a:rPr lang="en-US" sz="2000" b="1" dirty="0" smtClean="0"/>
              <a:t> on developer support plan</a:t>
            </a:r>
          </a:p>
        </p:txBody>
      </p:sp>
      <p:pic>
        <p:nvPicPr>
          <p:cNvPr id="1026" name="Picture 2" descr="http://www.manageengine.com/products/qengine/images/load-testing.gif"/>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1714" y="5391121"/>
            <a:ext cx="1666875" cy="1428750"/>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p:cNvSpPr txBox="1"/>
          <p:nvPr/>
        </p:nvSpPr>
        <p:spPr>
          <a:xfrm>
            <a:off x="1918158" y="5341707"/>
            <a:ext cx="4245900" cy="1261884"/>
          </a:xfrm>
          <a:prstGeom prst="rect">
            <a:avLst/>
          </a:prstGeom>
          <a:noFill/>
        </p:spPr>
        <p:txBody>
          <a:bodyPr wrap="square" rtlCol="0">
            <a:spAutoFit/>
          </a:bodyPr>
          <a:lstStyle/>
          <a:p>
            <a:r>
              <a:rPr lang="en-US" sz="2800" dirty="0" smtClean="0"/>
              <a:t>Traffic</a:t>
            </a:r>
          </a:p>
          <a:p>
            <a:endParaRPr lang="en-US" sz="1200" dirty="0"/>
          </a:p>
          <a:p>
            <a:pPr marL="342900" indent="-342900">
              <a:spcAft>
                <a:spcPts val="600"/>
              </a:spcAft>
              <a:buFont typeface="Arial" panose="020B0604020202020204" pitchFamily="34" charset="0"/>
              <a:buChar char="•"/>
            </a:pPr>
            <a:r>
              <a:rPr lang="en-US" dirty="0" smtClean="0"/>
              <a:t>16 M/day will be on a same time ~ 20-40k hits/sec </a:t>
            </a:r>
            <a:endParaRPr lang="ru-RU" dirty="0"/>
          </a:p>
        </p:txBody>
      </p:sp>
      <p:sp>
        <p:nvSpPr>
          <p:cNvPr id="12" name="TextBox 11"/>
          <p:cNvSpPr txBox="1"/>
          <p:nvPr/>
        </p:nvSpPr>
        <p:spPr>
          <a:xfrm>
            <a:off x="6671084" y="5122517"/>
            <a:ext cx="6676437" cy="1323439"/>
          </a:xfrm>
          <a:prstGeom prst="rect">
            <a:avLst/>
          </a:prstGeom>
          <a:noFill/>
        </p:spPr>
        <p:txBody>
          <a:bodyPr wrap="square" rtlCol="0">
            <a:spAutoFit/>
          </a:bodyPr>
          <a:lstStyle/>
          <a:p>
            <a:r>
              <a:rPr lang="en-US" sz="2800" dirty="0" smtClean="0"/>
              <a:t>DNS </a:t>
            </a:r>
            <a:r>
              <a:rPr lang="en-US" sz="2800" dirty="0"/>
              <a:t/>
            </a:r>
            <a:br>
              <a:rPr lang="en-US" sz="2800" dirty="0"/>
            </a:br>
            <a:endParaRPr lang="en-US" sz="1200" dirty="0"/>
          </a:p>
          <a:p>
            <a:pPr>
              <a:spcAft>
                <a:spcPts val="600"/>
              </a:spcAft>
            </a:pPr>
            <a:r>
              <a:rPr lang="en-US" sz="2000" b="1" dirty="0" smtClean="0">
                <a:sym typeface="Wingdings" panose="05000000000000000000" pitchFamily="2" charset="2"/>
              </a:rPr>
              <a:t>As exception they do </a:t>
            </a:r>
            <a:r>
              <a:rPr lang="en-US" sz="2000" b="1" dirty="0">
                <a:sym typeface="Wingdings" panose="05000000000000000000" pitchFamily="2" charset="2"/>
              </a:rPr>
              <a:t>b</a:t>
            </a:r>
            <a:r>
              <a:rPr lang="en-US" sz="2000" b="1" dirty="0" smtClean="0">
                <a:sym typeface="Wingdings" panose="05000000000000000000" pitchFamily="2" charset="2"/>
              </a:rPr>
              <a:t>okov.net -&gt; bokov.trafficmanager.net</a:t>
            </a:r>
          </a:p>
        </p:txBody>
      </p:sp>
      <p:pic>
        <p:nvPicPr>
          <p:cNvPr id="2050" name="Picture 2" descr="http://www.anthonykarnowski.com/wp-content/uploads/2014/04/loadTest.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186240" y="2568244"/>
            <a:ext cx="2185529" cy="1451274"/>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p:cNvSpPr txBox="1"/>
          <p:nvPr/>
        </p:nvSpPr>
        <p:spPr>
          <a:xfrm>
            <a:off x="8772640" y="4040425"/>
            <a:ext cx="3226855" cy="369332"/>
          </a:xfrm>
          <a:prstGeom prst="rect">
            <a:avLst/>
          </a:prstGeom>
          <a:noFill/>
        </p:spPr>
        <p:txBody>
          <a:bodyPr wrap="square" rtlCol="0">
            <a:spAutoFit/>
          </a:bodyPr>
          <a:lstStyle/>
          <a:p>
            <a:pPr marL="342900" indent="-342900">
              <a:spcAft>
                <a:spcPts val="600"/>
              </a:spcAft>
              <a:buFont typeface="Arial" panose="020B0604020202020204" pitchFamily="34" charset="0"/>
              <a:buChar char="•"/>
            </a:pPr>
            <a:r>
              <a:rPr lang="en-US" dirty="0" smtClean="0"/>
              <a:t>20% CPU load at peak</a:t>
            </a:r>
          </a:p>
        </p:txBody>
      </p:sp>
    </p:spTree>
    <p:extLst>
      <p:ext uri="{BB962C8B-B14F-4D97-AF65-F5344CB8AC3E}">
        <p14:creationId xmlns:p14="http://schemas.microsoft.com/office/powerpoint/2010/main" val="130630173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0621" y="452748"/>
            <a:ext cx="10297800" cy="720000"/>
          </a:xfrm>
        </p:spPr>
        <p:txBody>
          <a:bodyPr>
            <a:noAutofit/>
          </a:bodyPr>
          <a:lstStyle/>
          <a:p>
            <a:r>
              <a:rPr lang="ru-RU" sz="6600" b="1" dirty="0" smtClean="0"/>
              <a:t>Продакшн..</a:t>
            </a:r>
            <a:endParaRPr lang="ru-RU" sz="6600" b="1" dirty="0"/>
          </a:p>
        </p:txBody>
      </p:sp>
      <p:sp>
        <p:nvSpPr>
          <p:cNvPr id="3" name="TextBox 2"/>
          <p:cNvSpPr txBox="1"/>
          <p:nvPr/>
        </p:nvSpPr>
        <p:spPr>
          <a:xfrm>
            <a:off x="385011" y="1334842"/>
            <a:ext cx="11582400" cy="3046988"/>
          </a:xfrm>
          <a:prstGeom prst="rect">
            <a:avLst/>
          </a:prstGeom>
          <a:noFill/>
        </p:spPr>
        <p:txBody>
          <a:bodyPr wrap="square" rtlCol="0">
            <a:spAutoFit/>
          </a:bodyPr>
          <a:lstStyle/>
          <a:p>
            <a:pPr marL="457200" indent="-457200">
              <a:buFont typeface="Arial" panose="020B0604020202020204" pitchFamily="34" charset="0"/>
              <a:buChar char="•"/>
            </a:pPr>
            <a:r>
              <a:rPr lang="en-US" sz="3200" dirty="0" smtClean="0"/>
              <a:t>DNS </a:t>
            </a:r>
            <a:r>
              <a:rPr lang="ru-RU" sz="3200" dirty="0" smtClean="0"/>
              <a:t>роутинг отлично работает, но требуется время для обновления </a:t>
            </a:r>
            <a:r>
              <a:rPr lang="en-US" sz="3200" dirty="0" smtClean="0"/>
              <a:t>DNS </a:t>
            </a:r>
            <a:r>
              <a:rPr lang="ru-RU" sz="3200" dirty="0" smtClean="0"/>
              <a:t>на клиентской стороне</a:t>
            </a:r>
          </a:p>
          <a:p>
            <a:pPr marL="457200" indent="-457200">
              <a:buFont typeface="Arial" panose="020B0604020202020204" pitchFamily="34" charset="0"/>
              <a:buChar char="•"/>
            </a:pPr>
            <a:r>
              <a:rPr lang="ru-RU" sz="3200" dirty="0" smtClean="0"/>
              <a:t>Есть глюки которые надо чинить молотком</a:t>
            </a:r>
            <a:endParaRPr lang="en-US" sz="3200" dirty="0" smtClean="0"/>
          </a:p>
          <a:p>
            <a:pPr marL="457200" indent="-457200">
              <a:buFont typeface="Arial" panose="020B0604020202020204" pitchFamily="34" charset="0"/>
              <a:buChar char="•"/>
            </a:pPr>
            <a:r>
              <a:rPr lang="ru-RU" sz="3200" dirty="0" smtClean="0"/>
              <a:t>Девелоперы комитят баги, хорошо что есть несколько реплик</a:t>
            </a:r>
          </a:p>
          <a:p>
            <a:pPr marL="457200" indent="-457200">
              <a:buFont typeface="Arial" panose="020B0604020202020204" pitchFamily="34" charset="0"/>
              <a:buChar char="•"/>
            </a:pPr>
            <a:r>
              <a:rPr lang="ru-RU" sz="3200" dirty="0" smtClean="0"/>
              <a:t>Пользователи иногда видят разные показатели счетчиков </a:t>
            </a:r>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30622" y="4540465"/>
            <a:ext cx="2020073" cy="2140475"/>
          </a:xfrm>
          <a:prstGeom prst="rect">
            <a:avLst/>
          </a:prstGeom>
        </p:spPr>
      </p:pic>
    </p:spTree>
    <p:extLst>
      <p:ext uri="{BB962C8B-B14F-4D97-AF65-F5344CB8AC3E}">
        <p14:creationId xmlns:p14="http://schemas.microsoft.com/office/powerpoint/2010/main" val="156358460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8800" b="1" dirty="0" smtClean="0"/>
              <a:t>Results </a:t>
            </a:r>
            <a:endParaRPr lang="ru-RU" sz="8800" b="1" dirty="0"/>
          </a:p>
        </p:txBody>
      </p:sp>
      <p:sp>
        <p:nvSpPr>
          <p:cNvPr id="4" name="TextBox 3"/>
          <p:cNvSpPr txBox="1"/>
          <p:nvPr/>
        </p:nvSpPr>
        <p:spPr>
          <a:xfrm>
            <a:off x="541204" y="1767356"/>
            <a:ext cx="10273453" cy="3785652"/>
          </a:xfrm>
          <a:prstGeom prst="rect">
            <a:avLst/>
          </a:prstGeom>
          <a:noFill/>
        </p:spPr>
        <p:txBody>
          <a:bodyPr wrap="none" rtlCol="0">
            <a:spAutoFit/>
          </a:bodyPr>
          <a:lstStyle/>
          <a:p>
            <a:pPr marL="285750" indent="-285750">
              <a:buFont typeface="Arial" panose="020B0604020202020204" pitchFamily="34" charset="0"/>
              <a:buChar char="•"/>
            </a:pPr>
            <a:r>
              <a:rPr lang="en-US" sz="4800" dirty="0" smtClean="0"/>
              <a:t>100% </a:t>
            </a:r>
            <a:r>
              <a:rPr lang="ru-RU" sz="4800" dirty="0" smtClean="0"/>
              <a:t>доступность</a:t>
            </a:r>
            <a:r>
              <a:rPr lang="en-US" sz="4800" dirty="0" smtClean="0"/>
              <a:t>(</a:t>
            </a:r>
            <a:r>
              <a:rPr lang="ru-RU" sz="4800" dirty="0" smtClean="0"/>
              <a:t>более менее</a:t>
            </a:r>
            <a:r>
              <a:rPr lang="en-US" sz="4800" dirty="0" smtClean="0"/>
              <a:t> </a:t>
            </a:r>
            <a:r>
              <a:rPr lang="en-US" sz="4800" dirty="0" smtClean="0">
                <a:sym typeface="Wingdings" panose="05000000000000000000" pitchFamily="2" charset="2"/>
              </a:rPr>
              <a:t>)</a:t>
            </a:r>
            <a:endParaRPr lang="en-US" sz="4800" dirty="0" smtClean="0"/>
          </a:p>
          <a:p>
            <a:pPr marL="285750" indent="-285750">
              <a:buFont typeface="Arial" panose="020B0604020202020204" pitchFamily="34" charset="0"/>
              <a:buChar char="•"/>
            </a:pPr>
            <a:r>
              <a:rPr lang="en-US" sz="4800" dirty="0" smtClean="0"/>
              <a:t>17 000 </a:t>
            </a:r>
            <a:r>
              <a:rPr lang="ru-RU" sz="4800" dirty="0" smtClean="0"/>
              <a:t>школ</a:t>
            </a:r>
            <a:endParaRPr lang="en-US" sz="4800" dirty="0" smtClean="0"/>
          </a:p>
          <a:p>
            <a:pPr marL="285750" indent="-285750">
              <a:buFont typeface="Arial" panose="020B0604020202020204" pitchFamily="34" charset="0"/>
              <a:buChar char="•"/>
            </a:pPr>
            <a:r>
              <a:rPr lang="en-US" sz="4800" dirty="0" smtClean="0"/>
              <a:t>5M </a:t>
            </a:r>
            <a:r>
              <a:rPr lang="ru-RU" sz="4800" dirty="0" smtClean="0"/>
              <a:t>зарегистрировано</a:t>
            </a:r>
            <a:endParaRPr lang="en-US" sz="4800" dirty="0" smtClean="0"/>
          </a:p>
          <a:p>
            <a:pPr marL="285750" indent="-285750">
              <a:buFont typeface="Arial" panose="020B0604020202020204" pitchFamily="34" charset="0"/>
              <a:buChar char="•"/>
            </a:pPr>
            <a:r>
              <a:rPr lang="en-US" sz="4800" dirty="0" smtClean="0"/>
              <a:t>29k </a:t>
            </a:r>
            <a:r>
              <a:rPr lang="ru-RU" sz="4800" dirty="0" smtClean="0"/>
              <a:t>в пике</a:t>
            </a:r>
            <a:r>
              <a:rPr lang="en-US" sz="4800" dirty="0" smtClean="0"/>
              <a:t>, 20% CPU</a:t>
            </a:r>
            <a:endParaRPr lang="ru-RU" sz="4800" dirty="0"/>
          </a:p>
          <a:p>
            <a:pPr marL="285750" indent="-285750">
              <a:buFont typeface="Arial" panose="020B0604020202020204" pitchFamily="34" charset="0"/>
              <a:buChar char="•"/>
            </a:pPr>
            <a:r>
              <a:rPr lang="ru-RU" sz="4800" dirty="0" smtClean="0"/>
              <a:t>Все работало отлично!</a:t>
            </a:r>
            <a:endParaRPr lang="en-US" sz="4800" dirty="0" smtClean="0"/>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24048" y="3818020"/>
            <a:ext cx="4185736" cy="2810859"/>
          </a:xfrm>
          <a:prstGeom prst="rect">
            <a:avLst/>
          </a:prstGeom>
        </p:spPr>
      </p:pic>
    </p:spTree>
    <p:extLst>
      <p:ext uri="{BB962C8B-B14F-4D97-AF65-F5344CB8AC3E}">
        <p14:creationId xmlns:p14="http://schemas.microsoft.com/office/powerpoint/2010/main" val="248289150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99379" y="130428"/>
            <a:ext cx="12242998" cy="899409"/>
          </a:xfrm>
        </p:spPr>
        <p:txBody>
          <a:bodyPr/>
          <a:lstStyle/>
          <a:p>
            <a:r>
              <a:rPr lang="ru-RU" sz="4000" dirty="0"/>
              <a:t>Подробнее о способах приобретения </a:t>
            </a:r>
            <a:r>
              <a:rPr lang="en-US" sz="4000" dirty="0"/>
              <a:t>Microsoft Azure</a:t>
            </a:r>
            <a:endParaRPr lang="fr-CA" sz="4000" dirty="0"/>
          </a:p>
        </p:txBody>
      </p:sp>
      <p:sp>
        <p:nvSpPr>
          <p:cNvPr id="6" name="TextBox 5"/>
          <p:cNvSpPr txBox="1"/>
          <p:nvPr/>
        </p:nvSpPr>
        <p:spPr>
          <a:xfrm>
            <a:off x="467624" y="1486963"/>
            <a:ext cx="3424485" cy="4667533"/>
          </a:xfrm>
          <a:prstGeom prst="rect">
            <a:avLst/>
          </a:prstGeom>
          <a:solidFill>
            <a:schemeClr val="tx2"/>
          </a:solidFill>
          <a:ln>
            <a:noFill/>
          </a:ln>
          <a:extLst/>
        </p:spPr>
        <p:txBody>
          <a:bodyPr wrap="square" lIns="134445" tIns="89630" rIns="134445" bIns="89630" rtlCol="0" anchor="t" anchorCtr="0">
            <a:noAutofit/>
          </a:bodyPr>
          <a:lstStyle>
            <a:defPPr>
              <a:defRPr lang="en-US"/>
            </a:defPPr>
            <a:lvl1pPr algn="ctr">
              <a:defRPr sz="2400">
                <a:ln>
                  <a:solidFill>
                    <a:srgbClr val="FFFFFF">
                      <a:alpha val="0"/>
                    </a:srgbClr>
                  </a:solidFill>
                </a:ln>
                <a:solidFill>
                  <a:srgbClr val="FFFFFF"/>
                </a:solidFill>
                <a:latin typeface="+mj-lt"/>
                <a:ea typeface="Segoe UI" pitchFamily="34" charset="0"/>
                <a:cs typeface="Segoe UI" pitchFamily="34" charset="0"/>
              </a:defRPr>
            </a:lvl1pPr>
          </a:lstStyle>
          <a:p>
            <a:pPr marL="52902" algn="l" defTabSz="914192"/>
            <a:r>
              <a:rPr lang="fr-CA" sz="1961" dirty="0">
                <a:ln>
                  <a:noFill/>
                </a:ln>
              </a:rPr>
              <a:t>Оплата по </a:t>
            </a:r>
            <a:r>
              <a:rPr lang="fr-CA" sz="1961" dirty="0" err="1">
                <a:ln>
                  <a:noFill/>
                </a:ln>
              </a:rPr>
              <a:t>мере</a:t>
            </a:r>
            <a:r>
              <a:rPr lang="fr-CA" sz="1961" dirty="0">
                <a:ln>
                  <a:noFill/>
                </a:ln>
              </a:rPr>
              <a:t> использования</a:t>
            </a:r>
            <a:r>
              <a:rPr lang="ru-RU" sz="1961" dirty="0">
                <a:ln>
                  <a:noFill/>
                </a:ln>
              </a:rPr>
              <a:t> от 1 месяца</a:t>
            </a:r>
            <a:endParaRPr lang="en-US" sz="1961" dirty="0">
              <a:ln>
                <a:noFill/>
              </a:ln>
            </a:endParaRPr>
          </a:p>
        </p:txBody>
      </p:sp>
      <p:sp>
        <p:nvSpPr>
          <p:cNvPr id="11" name="TextBox 10"/>
          <p:cNvSpPr txBox="1"/>
          <p:nvPr/>
        </p:nvSpPr>
        <p:spPr>
          <a:xfrm>
            <a:off x="8440164" y="1470785"/>
            <a:ext cx="3295136" cy="2895689"/>
          </a:xfrm>
          <a:prstGeom prst="rect">
            <a:avLst/>
          </a:prstGeom>
          <a:solidFill>
            <a:schemeClr val="accent2"/>
          </a:solidFill>
          <a:ln>
            <a:noFill/>
          </a:ln>
          <a:extLst/>
        </p:spPr>
        <p:txBody>
          <a:bodyPr wrap="square" lIns="134445" tIns="89630" rIns="134445" bIns="89630" rtlCol="0" anchor="t" anchorCtr="0">
            <a:noAutofit/>
          </a:bodyPr>
          <a:lstStyle>
            <a:defPPr>
              <a:defRPr lang="en-US"/>
            </a:defPPr>
            <a:lvl1pPr algn="ctr">
              <a:defRPr sz="2400">
                <a:ln>
                  <a:solidFill>
                    <a:srgbClr val="FFFFFF">
                      <a:alpha val="0"/>
                    </a:srgbClr>
                  </a:solidFill>
                </a:ln>
                <a:solidFill>
                  <a:srgbClr val="FFFFFF"/>
                </a:solidFill>
                <a:latin typeface="+mj-lt"/>
                <a:ea typeface="Segoe UI" pitchFamily="34" charset="0"/>
                <a:cs typeface="Segoe UI" pitchFamily="34" charset="0"/>
              </a:defRPr>
            </a:lvl1pPr>
          </a:lstStyle>
          <a:p>
            <a:pPr marL="52902" defTabSz="914192"/>
            <a:r>
              <a:rPr lang="ru-RU" sz="1961" dirty="0">
                <a:ln>
                  <a:noFill/>
                </a:ln>
              </a:rPr>
              <a:t>Контракты от 3-х лет</a:t>
            </a:r>
          </a:p>
          <a:p>
            <a:pPr marL="52902" defTabSz="914192"/>
            <a:r>
              <a:rPr lang="en-US" sz="1568" b="1" dirty="0"/>
              <a:t>Enterprise Agreement </a:t>
            </a:r>
            <a:r>
              <a:rPr lang="ru-RU" sz="1568" b="1" dirty="0"/>
              <a:t>и </a:t>
            </a:r>
            <a:r>
              <a:rPr lang="en-US" sz="1568" b="1" dirty="0"/>
              <a:t>Enterprise Agreement</a:t>
            </a:r>
            <a:r>
              <a:rPr lang="ru-RU" sz="1568" b="1" dirty="0"/>
              <a:t>(</a:t>
            </a:r>
            <a:r>
              <a:rPr lang="en-US" sz="1568" b="1" dirty="0"/>
              <a:t>SCE</a:t>
            </a:r>
            <a:r>
              <a:rPr lang="ru-RU" sz="1568" b="1" dirty="0"/>
              <a:t>)</a:t>
            </a:r>
            <a:endParaRPr lang="ru-RU" sz="1568" dirty="0">
              <a:ln>
                <a:noFill/>
              </a:ln>
            </a:endParaRPr>
          </a:p>
          <a:p>
            <a:pPr marL="52902" defTabSz="914192"/>
            <a:endParaRPr lang="en-US" sz="1961" dirty="0">
              <a:ln>
                <a:noFill/>
              </a:ln>
            </a:endParaRPr>
          </a:p>
        </p:txBody>
      </p:sp>
      <p:sp>
        <p:nvSpPr>
          <p:cNvPr id="15" name="Right Brace 14"/>
          <p:cNvSpPr/>
          <p:nvPr/>
        </p:nvSpPr>
        <p:spPr>
          <a:xfrm rot="16200000">
            <a:off x="2156048" y="-213796"/>
            <a:ext cx="119518" cy="3441487"/>
          </a:xfrm>
          <a:prstGeom prst="rightBrace">
            <a:avLst/>
          </a:prstGeom>
          <a:noFill/>
          <a:ln w="9525">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defTabSz="914192"/>
            <a:endParaRPr lang="en-US" sz="1765" dirty="0">
              <a:solidFill>
                <a:srgbClr val="000000"/>
              </a:solidFill>
              <a:cs typeface="Segoe UI" panose="020B0502040204020203" pitchFamily="34" charset="0"/>
            </a:endParaRPr>
          </a:p>
        </p:txBody>
      </p:sp>
      <p:sp>
        <p:nvSpPr>
          <p:cNvPr id="16" name="TextBox 15"/>
          <p:cNvSpPr txBox="1"/>
          <p:nvPr/>
        </p:nvSpPr>
        <p:spPr>
          <a:xfrm>
            <a:off x="867" y="917383"/>
            <a:ext cx="4545461" cy="543226"/>
          </a:xfrm>
          <a:prstGeom prst="rect">
            <a:avLst/>
          </a:prstGeom>
          <a:noFill/>
        </p:spPr>
        <p:txBody>
          <a:bodyPr wrap="square" lIns="0" tIns="0" rIns="0" bIns="0" rtlCol="0">
            <a:spAutoFit/>
          </a:bodyPr>
          <a:lstStyle/>
          <a:p>
            <a:pPr algn="ctr" defTabSz="914192"/>
            <a:r>
              <a:rPr lang="fr-CA" sz="1765" dirty="0" smtClean="0">
                <a:solidFill>
                  <a:srgbClr val="505050"/>
                </a:solidFill>
                <a:latin typeface="Segoe UI Semibold" panose="020B0702040204020203" pitchFamily="34" charset="0"/>
                <a:cs typeface="Segoe UI Semibold" panose="020B0702040204020203" pitchFamily="34" charset="0"/>
              </a:rPr>
              <a:t> </a:t>
            </a:r>
            <a:endParaRPr lang="fr-CA" sz="1765" dirty="0">
              <a:solidFill>
                <a:srgbClr val="505050"/>
              </a:solidFill>
              <a:latin typeface="Segoe UI Semibold" panose="020B0702040204020203" pitchFamily="34" charset="0"/>
              <a:cs typeface="Segoe UI Semibold" panose="020B0702040204020203" pitchFamily="34" charset="0"/>
            </a:endParaRPr>
          </a:p>
          <a:p>
            <a:pPr algn="ctr" defTabSz="914192"/>
            <a:r>
              <a:rPr lang="ru-RU" sz="1765" dirty="0" smtClean="0">
                <a:solidFill>
                  <a:srgbClr val="505050"/>
                </a:solidFill>
                <a:latin typeface="Segoe UI Semibold" panose="020B0702040204020203" pitchFamily="34" charset="0"/>
                <a:cs typeface="Segoe UI Semibold" panose="020B0702040204020203" pitchFamily="34" charset="0"/>
              </a:rPr>
              <a:t>На </a:t>
            </a:r>
            <a:r>
              <a:rPr lang="fr-CA" sz="1765" dirty="0" smtClean="0">
                <a:solidFill>
                  <a:srgbClr val="505050"/>
                </a:solidFill>
                <a:latin typeface="Segoe UI Semibold" panose="020B0702040204020203" pitchFamily="34" charset="0"/>
                <a:cs typeface="Segoe UI Semibold" panose="020B0702040204020203" pitchFamily="34" charset="0"/>
              </a:rPr>
              <a:t>azure.com</a:t>
            </a:r>
            <a:endParaRPr lang="fr-CA" sz="1765" dirty="0">
              <a:solidFill>
                <a:srgbClr val="505050"/>
              </a:solidFill>
              <a:latin typeface="Segoe UI Semibold" panose="020B0702040204020203" pitchFamily="34" charset="0"/>
              <a:cs typeface="Segoe UI Semibold" panose="020B0702040204020203" pitchFamily="34" charset="0"/>
            </a:endParaRPr>
          </a:p>
        </p:txBody>
      </p:sp>
      <p:sp>
        <p:nvSpPr>
          <p:cNvPr id="17" name="Right Brace 16"/>
          <p:cNvSpPr/>
          <p:nvPr/>
        </p:nvSpPr>
        <p:spPr>
          <a:xfrm rot="16200000">
            <a:off x="10009172" y="-154044"/>
            <a:ext cx="161162" cy="3291095"/>
          </a:xfrm>
          <a:prstGeom prst="rightBrace">
            <a:avLst/>
          </a:prstGeom>
          <a:noFill/>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192"/>
            <a:endParaRPr lang="en-US" sz="1765" dirty="0">
              <a:solidFill>
                <a:srgbClr val="000000"/>
              </a:solidFill>
              <a:cs typeface="Segoe UI" panose="020B0502040204020203" pitchFamily="34" charset="0"/>
            </a:endParaRPr>
          </a:p>
        </p:txBody>
      </p:sp>
      <p:sp>
        <p:nvSpPr>
          <p:cNvPr id="18" name="TextBox 17"/>
          <p:cNvSpPr txBox="1"/>
          <p:nvPr/>
        </p:nvSpPr>
        <p:spPr>
          <a:xfrm>
            <a:off x="8082370" y="924734"/>
            <a:ext cx="4014763" cy="543226"/>
          </a:xfrm>
          <a:prstGeom prst="rect">
            <a:avLst/>
          </a:prstGeom>
          <a:noFill/>
        </p:spPr>
        <p:txBody>
          <a:bodyPr wrap="square" lIns="0" tIns="0" rIns="0" bIns="0" rtlCol="0">
            <a:spAutoFit/>
          </a:bodyPr>
          <a:lstStyle/>
          <a:p>
            <a:pPr algn="ctr" defTabSz="914192"/>
            <a:r>
              <a:rPr lang="fr-CA" sz="1765" dirty="0">
                <a:solidFill>
                  <a:srgbClr val="505050"/>
                </a:solidFill>
                <a:latin typeface="Segoe UI Semibold" panose="020B0702040204020203" pitchFamily="34" charset="0"/>
                <a:cs typeface="Segoe UI Semibold" panose="020B0702040204020203" pitchFamily="34" charset="0"/>
              </a:rPr>
              <a:t>Корпоративное соглашение</a:t>
            </a:r>
          </a:p>
          <a:p>
            <a:pPr algn="ctr" defTabSz="914192"/>
            <a:r>
              <a:rPr lang="fr-CA" sz="1765" dirty="0">
                <a:solidFill>
                  <a:srgbClr val="505050"/>
                </a:solidFill>
                <a:latin typeface="Segoe UI Semibold" panose="020B0702040204020203" pitchFamily="34" charset="0"/>
                <a:cs typeface="Segoe UI Semibold" panose="020B0702040204020203" pitchFamily="34" charset="0"/>
              </a:rPr>
              <a:t>EA</a:t>
            </a:r>
          </a:p>
        </p:txBody>
      </p:sp>
      <p:sp>
        <p:nvSpPr>
          <p:cNvPr id="19" name="TextBox 18"/>
          <p:cNvSpPr txBox="1"/>
          <p:nvPr/>
        </p:nvSpPr>
        <p:spPr>
          <a:xfrm>
            <a:off x="4339733" y="1486963"/>
            <a:ext cx="3642791" cy="3299486"/>
          </a:xfrm>
          <a:prstGeom prst="rect">
            <a:avLst/>
          </a:prstGeom>
          <a:solidFill>
            <a:schemeClr val="accent1"/>
          </a:solidFill>
          <a:ln>
            <a:noFill/>
          </a:ln>
          <a:extLst/>
        </p:spPr>
        <p:txBody>
          <a:bodyPr wrap="square" lIns="134445" tIns="89630" rIns="134445" bIns="89630" rtlCol="0" anchor="t" anchorCtr="0">
            <a:noAutofit/>
          </a:bodyPr>
          <a:lstStyle>
            <a:defPPr>
              <a:defRPr lang="en-US"/>
            </a:defPPr>
            <a:lvl1pPr algn="ctr">
              <a:defRPr sz="2400">
                <a:ln>
                  <a:solidFill>
                    <a:srgbClr val="FFFFFF">
                      <a:alpha val="0"/>
                    </a:srgbClr>
                  </a:solidFill>
                </a:ln>
                <a:solidFill>
                  <a:srgbClr val="FFFFFF"/>
                </a:solidFill>
                <a:latin typeface="+mj-lt"/>
                <a:ea typeface="Segoe UI" pitchFamily="34" charset="0"/>
                <a:cs typeface="Segoe UI" pitchFamily="34" charset="0"/>
              </a:defRPr>
            </a:lvl1pPr>
          </a:lstStyle>
          <a:p>
            <a:pPr marL="52902" algn="l" defTabSz="914192"/>
            <a:r>
              <a:rPr lang="ru-RU" sz="1961" b="1" dirty="0"/>
              <a:t>Приобретение у наших партнеров по модели Open Licensin</a:t>
            </a:r>
            <a:r>
              <a:rPr lang="en-US" sz="1961" b="1" dirty="0"/>
              <a:t>g </a:t>
            </a:r>
            <a:r>
              <a:rPr lang="fr-CA" sz="1961" dirty="0">
                <a:ln>
                  <a:noFill/>
                </a:ln>
              </a:rPr>
              <a:t>12 месяцев</a:t>
            </a:r>
            <a:endParaRPr lang="en-US" sz="1961" dirty="0">
              <a:ln>
                <a:noFill/>
              </a:ln>
            </a:endParaRPr>
          </a:p>
        </p:txBody>
      </p:sp>
      <p:sp>
        <p:nvSpPr>
          <p:cNvPr id="22" name="Right Brace 21"/>
          <p:cNvSpPr/>
          <p:nvPr/>
        </p:nvSpPr>
        <p:spPr>
          <a:xfrm rot="16200000">
            <a:off x="6044767" y="-293757"/>
            <a:ext cx="182318" cy="3591683"/>
          </a:xfrm>
          <a:prstGeom prst="rightBrace">
            <a:avLst/>
          </a:prstGeom>
          <a:noFill/>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192"/>
            <a:endParaRPr lang="en-US" sz="1765" dirty="0">
              <a:solidFill>
                <a:srgbClr val="000000"/>
              </a:solidFill>
              <a:cs typeface="Segoe UI" panose="020B0502040204020203" pitchFamily="34" charset="0"/>
            </a:endParaRPr>
          </a:p>
        </p:txBody>
      </p:sp>
      <p:sp>
        <p:nvSpPr>
          <p:cNvPr id="23" name="TextBox 22"/>
          <p:cNvSpPr txBox="1"/>
          <p:nvPr/>
        </p:nvSpPr>
        <p:spPr>
          <a:xfrm>
            <a:off x="4070422" y="1066417"/>
            <a:ext cx="3912102" cy="271613"/>
          </a:xfrm>
          <a:prstGeom prst="rect">
            <a:avLst/>
          </a:prstGeom>
          <a:noFill/>
        </p:spPr>
        <p:txBody>
          <a:bodyPr wrap="square" lIns="0" tIns="0" rIns="0" bIns="0" rtlCol="0">
            <a:spAutoFit/>
          </a:bodyPr>
          <a:lstStyle/>
          <a:p>
            <a:pPr algn="ctr" defTabSz="914192"/>
            <a:r>
              <a:rPr lang="fr-CA" sz="1765" dirty="0">
                <a:solidFill>
                  <a:srgbClr val="505050"/>
                </a:solidFill>
                <a:latin typeface="Segoe UI Semibold" panose="020B0702040204020203" pitchFamily="34" charset="0"/>
                <a:cs typeface="Segoe UI Semibold" panose="020B0702040204020203" pitchFamily="34" charset="0"/>
              </a:rPr>
              <a:t>Программы Open License</a:t>
            </a:r>
          </a:p>
        </p:txBody>
      </p:sp>
      <p:grpSp>
        <p:nvGrpSpPr>
          <p:cNvPr id="24" name="Group 23"/>
          <p:cNvGrpSpPr/>
          <p:nvPr/>
        </p:nvGrpSpPr>
        <p:grpSpPr>
          <a:xfrm>
            <a:off x="2572861" y="5346683"/>
            <a:ext cx="9632606" cy="1500853"/>
            <a:chOff x="4402138" y="4330700"/>
            <a:chExt cx="4757738" cy="835026"/>
          </a:xfrm>
        </p:grpSpPr>
        <p:sp>
          <p:nvSpPr>
            <p:cNvPr id="25" name="Freeform 8"/>
            <p:cNvSpPr>
              <a:spLocks/>
            </p:cNvSpPr>
            <p:nvPr/>
          </p:nvSpPr>
          <p:spPr bwMode="auto">
            <a:xfrm>
              <a:off x="4402138" y="4602163"/>
              <a:ext cx="2403475" cy="563563"/>
            </a:xfrm>
            <a:custGeom>
              <a:avLst/>
              <a:gdLst>
                <a:gd name="T0" fmla="*/ 1368 w 2213"/>
                <a:gd name="T1" fmla="*/ 82 h 519"/>
                <a:gd name="T2" fmla="*/ 0 w 2213"/>
                <a:gd name="T3" fmla="*/ 519 h 519"/>
                <a:gd name="T4" fmla="*/ 784 w 2213"/>
                <a:gd name="T5" fmla="*/ 519 h 519"/>
                <a:gd name="T6" fmla="*/ 2213 w 2213"/>
                <a:gd name="T7" fmla="*/ 519 h 519"/>
                <a:gd name="T8" fmla="*/ 1368 w 2213"/>
                <a:gd name="T9" fmla="*/ 82 h 519"/>
              </a:gdLst>
              <a:ahLst/>
              <a:cxnLst>
                <a:cxn ang="0">
                  <a:pos x="T0" y="T1"/>
                </a:cxn>
                <a:cxn ang="0">
                  <a:pos x="T2" y="T3"/>
                </a:cxn>
                <a:cxn ang="0">
                  <a:pos x="T4" y="T5"/>
                </a:cxn>
                <a:cxn ang="0">
                  <a:pos x="T6" y="T7"/>
                </a:cxn>
                <a:cxn ang="0">
                  <a:pos x="T8" y="T9"/>
                </a:cxn>
              </a:cxnLst>
              <a:rect l="0" t="0" r="r" b="b"/>
              <a:pathLst>
                <a:path w="2213" h="519">
                  <a:moveTo>
                    <a:pt x="1368" y="82"/>
                  </a:moveTo>
                  <a:cubicBezTo>
                    <a:pt x="886" y="0"/>
                    <a:pt x="373" y="146"/>
                    <a:pt x="0" y="519"/>
                  </a:cubicBezTo>
                  <a:cubicBezTo>
                    <a:pt x="784" y="519"/>
                    <a:pt x="784" y="519"/>
                    <a:pt x="784" y="519"/>
                  </a:cubicBezTo>
                  <a:cubicBezTo>
                    <a:pt x="2213" y="519"/>
                    <a:pt x="2213" y="519"/>
                    <a:pt x="2213" y="519"/>
                  </a:cubicBezTo>
                  <a:cubicBezTo>
                    <a:pt x="1974" y="280"/>
                    <a:pt x="1678" y="134"/>
                    <a:pt x="1368" y="8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6" tIns="60943" rIns="121886" bIns="60943" numCol="1" anchor="t" anchorCtr="0" compatLnSpc="1">
              <a:prstTxWarp prst="textNoShape">
                <a:avLst/>
              </a:prstTxWarp>
            </a:bodyPr>
            <a:lstStyle/>
            <a:p>
              <a:pPr defTabSz="609351"/>
              <a:endParaRPr lang="en-US" sz="2400">
                <a:solidFill>
                  <a:srgbClr val="000000"/>
                </a:solidFill>
              </a:endParaRPr>
            </a:p>
          </p:txBody>
        </p:sp>
        <p:sp>
          <p:nvSpPr>
            <p:cNvPr id="26" name="Freeform 9"/>
            <p:cNvSpPr>
              <a:spLocks/>
            </p:cNvSpPr>
            <p:nvPr/>
          </p:nvSpPr>
          <p:spPr bwMode="auto">
            <a:xfrm>
              <a:off x="5503863" y="4330700"/>
              <a:ext cx="3656013" cy="835025"/>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6" tIns="60943" rIns="121886" bIns="60943" numCol="1" anchor="t" anchorCtr="0" compatLnSpc="1">
              <a:prstTxWarp prst="textNoShape">
                <a:avLst/>
              </a:prstTxWarp>
            </a:bodyPr>
            <a:lstStyle/>
            <a:p>
              <a:pPr defTabSz="609351"/>
              <a:endParaRPr lang="en-US" sz="2400">
                <a:solidFill>
                  <a:srgbClr val="000000"/>
                </a:solidFill>
              </a:endParaRPr>
            </a:p>
          </p:txBody>
        </p:sp>
        <p:sp>
          <p:nvSpPr>
            <p:cNvPr id="27" name="Freeform 17"/>
            <p:cNvSpPr>
              <a:spLocks/>
            </p:cNvSpPr>
            <p:nvPr/>
          </p:nvSpPr>
          <p:spPr bwMode="auto">
            <a:xfrm>
              <a:off x="6896100" y="4733925"/>
              <a:ext cx="2005013" cy="431800"/>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6" tIns="60943" rIns="121886" bIns="60943" numCol="1" anchor="t" anchorCtr="0" compatLnSpc="1">
              <a:prstTxWarp prst="textNoShape">
                <a:avLst/>
              </a:prstTxWarp>
            </a:bodyPr>
            <a:lstStyle/>
            <a:p>
              <a:pPr defTabSz="609351"/>
              <a:endParaRPr lang="en-US" sz="2400">
                <a:solidFill>
                  <a:srgbClr val="000000"/>
                </a:solidFill>
              </a:endParaRPr>
            </a:p>
          </p:txBody>
        </p:sp>
      </p:grpSp>
      <p:sp>
        <p:nvSpPr>
          <p:cNvPr id="21" name="Isosceles Triangle 20"/>
          <p:cNvSpPr/>
          <p:nvPr/>
        </p:nvSpPr>
        <p:spPr bwMode="auto">
          <a:xfrm rot="10800000">
            <a:off x="2763485" y="2496138"/>
            <a:ext cx="230828" cy="230828"/>
          </a:xfrm>
          <a:prstGeom prst="triangle">
            <a:avLst>
              <a:gd name="adj" fmla="val 100000"/>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1961" dirty="0" err="1">
              <a:gradFill>
                <a:gsLst>
                  <a:gs pos="0">
                    <a:srgbClr val="FFFFFF"/>
                  </a:gs>
                  <a:gs pos="100000">
                    <a:srgbClr val="FFFFFF"/>
                  </a:gs>
                </a:gsLst>
                <a:lin ang="5400000" scaled="0"/>
              </a:gradFill>
              <a:ea typeface="Segoe UI" pitchFamily="34" charset="0"/>
              <a:cs typeface="Segoe UI" pitchFamily="34" charset="0"/>
            </a:endParaRPr>
          </a:p>
        </p:txBody>
      </p:sp>
      <p:sp>
        <p:nvSpPr>
          <p:cNvPr id="30" name="Isosceles Triangle 29"/>
          <p:cNvSpPr/>
          <p:nvPr/>
        </p:nvSpPr>
        <p:spPr bwMode="auto">
          <a:xfrm rot="10800000">
            <a:off x="11363231" y="2496138"/>
            <a:ext cx="230828" cy="230828"/>
          </a:xfrm>
          <a:prstGeom prst="triangle">
            <a:avLst>
              <a:gd name="adj" fmla="val 10000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1961"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Slide Number Placeholder 2"/>
          <p:cNvSpPr>
            <a:spLocks noGrp="1"/>
          </p:cNvSpPr>
          <p:nvPr>
            <p:ph type="sldNum" sz="quarter" idx="4294967295"/>
          </p:nvPr>
        </p:nvSpPr>
        <p:spPr>
          <a:xfrm>
            <a:off x="11379597" y="6154496"/>
            <a:ext cx="555517" cy="134445"/>
          </a:xfrm>
          <a:prstGeom prst="rect">
            <a:avLst/>
          </a:prstGeom>
        </p:spPr>
        <p:txBody>
          <a:bodyPr/>
          <a:lstStyle/>
          <a:p>
            <a:fld id="{27258FFF-F925-446B-8502-81C933981705}" type="slidenum">
              <a:rPr>
                <a:solidFill>
                  <a:srgbClr val="FFFFFF"/>
                </a:solidFill>
              </a:rPr>
              <a:pPr/>
              <a:t>56</a:t>
            </a:fld>
            <a:endParaRPr>
              <a:solidFill>
                <a:srgbClr val="FFFFFF"/>
              </a:solidFill>
            </a:endParaRPr>
          </a:p>
        </p:txBody>
      </p:sp>
      <p:sp>
        <p:nvSpPr>
          <p:cNvPr id="7" name="Rectangle 6"/>
          <p:cNvSpPr/>
          <p:nvPr/>
        </p:nvSpPr>
        <p:spPr bwMode="auto">
          <a:xfrm>
            <a:off x="463603" y="2467170"/>
            <a:ext cx="3428505" cy="4175246"/>
          </a:xfrm>
          <a:prstGeom prst="rect">
            <a:avLst/>
          </a:prstGeom>
          <a:solidFill>
            <a:schemeClr val="bg1">
              <a:lumMod val="95000"/>
            </a:schemeClr>
          </a:solidFill>
        </p:spPr>
        <p:txBody>
          <a:bodyPr vert="horz" wrap="square" lIns="89630" tIns="179259" rIns="89630" bIns="89630" rtlCol="0" anchor="ctr" anchorCtr="0">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168040" indent="-168040" defTabSz="914049">
              <a:spcBef>
                <a:spcPts val="784"/>
              </a:spcBef>
              <a:buFont typeface="Arial" panose="020B0604020202020204" pitchFamily="34" charset="0"/>
              <a:buChar char="•"/>
            </a:pPr>
            <a:r>
              <a:rPr lang="ru-RU" sz="1371" dirty="0">
                <a:solidFill>
                  <a:srgbClr val="505050"/>
                </a:solidFill>
              </a:rPr>
              <a:t>PAY-AS-YOU-GO или оплата по мере использования предполагает гибкие возможности без первоначальных затрат и отсутствие долговременных обязательств</a:t>
            </a:r>
            <a:endParaRPr lang="en-US" sz="1371" dirty="0">
              <a:solidFill>
                <a:srgbClr val="505050"/>
              </a:solidFill>
            </a:endParaRPr>
          </a:p>
          <a:p>
            <a:pPr marL="168040" indent="-168040" defTabSz="914049">
              <a:spcBef>
                <a:spcPts val="784"/>
              </a:spcBef>
              <a:buFont typeface="Arial" panose="020B0604020202020204" pitchFamily="34" charset="0"/>
              <a:buChar char="•"/>
            </a:pPr>
            <a:r>
              <a:rPr lang="ru-RU" sz="1371" dirty="0">
                <a:solidFill>
                  <a:srgbClr val="505050"/>
                </a:solidFill>
              </a:rPr>
              <a:t>Данный вариант оплаты может быть полезен для предприятий малого и среднего бизнеса, а также для индивидуальных разработчиков, для задач требующих небольшого количества ресурсов с возможностью расширения в будущем. </a:t>
            </a:r>
            <a:endParaRPr lang="en-US" sz="1371" dirty="0">
              <a:solidFill>
                <a:srgbClr val="505050"/>
              </a:solidFill>
            </a:endParaRPr>
          </a:p>
          <a:p>
            <a:pPr marL="168040" indent="-168040" defTabSz="914049">
              <a:spcBef>
                <a:spcPts val="784"/>
              </a:spcBef>
              <a:buFont typeface="Arial" panose="020B0604020202020204" pitchFamily="34" charset="0"/>
              <a:buChar char="•"/>
            </a:pPr>
            <a:r>
              <a:rPr lang="ru-RU" sz="1371" dirty="0">
                <a:solidFill>
                  <a:srgbClr val="505050"/>
                </a:solidFill>
              </a:rPr>
              <a:t>Для использования этого варианта оплаты необходимо наличие кредитной карты.</a:t>
            </a:r>
            <a:endParaRPr lang="en-US" sz="1371" dirty="0">
              <a:solidFill>
                <a:srgbClr val="505050"/>
              </a:solidFill>
            </a:endParaRPr>
          </a:p>
          <a:p>
            <a:pPr marL="168040" indent="-168040" defTabSz="914049">
              <a:spcBef>
                <a:spcPts val="784"/>
              </a:spcBef>
              <a:buFont typeface="Arial" panose="020B0604020202020204" pitchFamily="34" charset="0"/>
              <a:buChar char="•"/>
            </a:pPr>
            <a:r>
              <a:rPr lang="ru-RU" sz="1371" dirty="0">
                <a:solidFill>
                  <a:srgbClr val="505050"/>
                </a:solidFill>
              </a:rPr>
              <a:t>Все детали вы можете узнать по </a:t>
            </a:r>
            <a:r>
              <a:rPr lang="en-US" b="1" u="sng" dirty="0" smtClean="0">
                <a:solidFill>
                  <a:srgbClr val="505050"/>
                </a:solidFill>
              </a:rPr>
              <a:t>aka.ms/</a:t>
            </a:r>
            <a:r>
              <a:rPr lang="en-US" b="1" u="sng" dirty="0" err="1" smtClean="0">
                <a:solidFill>
                  <a:srgbClr val="505050"/>
                </a:solidFill>
              </a:rPr>
              <a:t>msazurerupayg</a:t>
            </a:r>
            <a:endParaRPr lang="en-US" b="1" u="sng" dirty="0">
              <a:solidFill>
                <a:srgbClr val="505050"/>
              </a:solidFill>
            </a:endParaRPr>
          </a:p>
        </p:txBody>
      </p:sp>
      <p:sp>
        <p:nvSpPr>
          <p:cNvPr id="12" name="Rectangle 11"/>
          <p:cNvSpPr/>
          <p:nvPr/>
        </p:nvSpPr>
        <p:spPr bwMode="auto">
          <a:xfrm>
            <a:off x="8435024" y="2473769"/>
            <a:ext cx="3299238" cy="4168646"/>
          </a:xfrm>
          <a:prstGeom prst="rect">
            <a:avLst/>
          </a:prstGeom>
          <a:solidFill>
            <a:schemeClr val="bg1">
              <a:lumMod val="95000"/>
            </a:schemeClr>
          </a:solidFill>
        </p:spPr>
        <p:txBody>
          <a:bodyPr vert="horz" wrap="square" lIns="89630" tIns="179259" rIns="89630" bIns="89630" rtlCol="0" anchor="ctr" anchorCtr="0">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168040" indent="-168040" defTabSz="914049">
              <a:spcBef>
                <a:spcPts val="784"/>
              </a:spcBef>
              <a:buFont typeface="Arial" panose="020B0604020202020204" pitchFamily="34" charset="0"/>
              <a:buChar char="•"/>
            </a:pPr>
            <a:r>
              <a:rPr lang="ru-RU" sz="1371" dirty="0">
                <a:solidFill>
                  <a:srgbClr val="505050"/>
                </a:solidFill>
              </a:rPr>
              <a:t>Enterprise - Enterprise Agreement и Enterprise Agreement Subscription. Данный вариант приобретения предполагает предварительную оплату ресурсов Microsoft Azure </a:t>
            </a:r>
            <a:endParaRPr lang="en-US" sz="1371" dirty="0">
              <a:solidFill>
                <a:srgbClr val="505050"/>
              </a:solidFill>
            </a:endParaRPr>
          </a:p>
          <a:p>
            <a:pPr marL="168040" indent="-168040" defTabSz="914049">
              <a:spcBef>
                <a:spcPts val="784"/>
              </a:spcBef>
              <a:buFont typeface="Arial" panose="020B0604020202020204" pitchFamily="34" charset="0"/>
              <a:buChar char="•"/>
            </a:pPr>
            <a:r>
              <a:rPr lang="ru-RU" sz="1371" dirty="0">
                <a:solidFill>
                  <a:srgbClr val="505050"/>
                </a:solidFill>
              </a:rPr>
              <a:t>Размер скидки до 35%*</a:t>
            </a:r>
            <a:endParaRPr lang="en-US" sz="1371" dirty="0">
              <a:solidFill>
                <a:srgbClr val="505050"/>
              </a:solidFill>
            </a:endParaRPr>
          </a:p>
          <a:p>
            <a:pPr marL="168040" indent="-168040" defTabSz="914049">
              <a:spcBef>
                <a:spcPts val="784"/>
              </a:spcBef>
              <a:buFont typeface="Arial" panose="020B0604020202020204" pitchFamily="34" charset="0"/>
              <a:buChar char="•"/>
            </a:pPr>
            <a:r>
              <a:rPr lang="ru-RU" sz="1371" dirty="0">
                <a:solidFill>
                  <a:srgbClr val="505050"/>
                </a:solidFill>
              </a:rPr>
              <a:t>Приобретение доступно у наших партнеров со статусом Large Account Reseller. </a:t>
            </a:r>
            <a:endParaRPr lang="en-US" sz="1371" dirty="0">
              <a:solidFill>
                <a:srgbClr val="505050"/>
              </a:solidFill>
            </a:endParaRPr>
          </a:p>
          <a:p>
            <a:pPr marL="168040" indent="-168040" defTabSz="914049">
              <a:spcBef>
                <a:spcPts val="784"/>
              </a:spcBef>
              <a:buFont typeface="Arial" panose="020B0604020202020204" pitchFamily="34" charset="0"/>
              <a:buChar char="•"/>
            </a:pPr>
            <a:r>
              <a:rPr lang="ru-RU" sz="1371" dirty="0">
                <a:solidFill>
                  <a:srgbClr val="505050"/>
                </a:solidFill>
              </a:rPr>
              <a:t>Данный вариант приобретения предназначен для компаний корпоративного сегмента, все подробности можно прочитать </a:t>
            </a:r>
            <a:r>
              <a:rPr lang="en-US" sz="1371" dirty="0">
                <a:solidFill>
                  <a:srgbClr val="505050"/>
                </a:solidFill>
              </a:rPr>
              <a:t>http://aka.ms/msazureruea</a:t>
            </a:r>
          </a:p>
          <a:p>
            <a:pPr defTabSz="914049">
              <a:spcBef>
                <a:spcPts val="784"/>
              </a:spcBef>
            </a:pPr>
            <a:r>
              <a:rPr lang="ru-RU" sz="1371" dirty="0">
                <a:solidFill>
                  <a:srgbClr val="505050"/>
                </a:solidFill>
              </a:rPr>
              <a:t>или узнать у наших партнеров</a:t>
            </a:r>
            <a:endParaRPr lang="en-US" sz="1371" dirty="0">
              <a:solidFill>
                <a:srgbClr val="505050"/>
              </a:solidFill>
            </a:endParaRPr>
          </a:p>
          <a:p>
            <a:pPr defTabSz="914049">
              <a:spcBef>
                <a:spcPts val="784"/>
              </a:spcBef>
            </a:pPr>
            <a:r>
              <a:rPr lang="en-US" sz="1400" b="1" dirty="0" smtClean="0">
                <a:solidFill>
                  <a:srgbClr val="505050"/>
                </a:solidFill>
              </a:rPr>
              <a:t>pinpoint.microsoft.com/</a:t>
            </a:r>
            <a:r>
              <a:rPr lang="en-US" sz="1400" b="1" dirty="0" err="1" smtClean="0">
                <a:solidFill>
                  <a:srgbClr val="505050"/>
                </a:solidFill>
              </a:rPr>
              <a:t>ru-ru</a:t>
            </a:r>
            <a:endParaRPr lang="en-US" sz="1371" dirty="0">
              <a:solidFill>
                <a:srgbClr val="505050"/>
              </a:solidFill>
            </a:endParaRPr>
          </a:p>
        </p:txBody>
      </p:sp>
      <p:sp>
        <p:nvSpPr>
          <p:cNvPr id="20" name="Rectangle 19"/>
          <p:cNvSpPr/>
          <p:nvPr/>
        </p:nvSpPr>
        <p:spPr bwMode="auto">
          <a:xfrm>
            <a:off x="4328878" y="2467171"/>
            <a:ext cx="3653646" cy="4175245"/>
          </a:xfrm>
          <a:prstGeom prst="rect">
            <a:avLst/>
          </a:prstGeom>
          <a:solidFill>
            <a:schemeClr val="bg1">
              <a:lumMod val="95000"/>
            </a:schemeClr>
          </a:solidFill>
        </p:spPr>
        <p:txBody>
          <a:bodyPr vert="horz" wrap="square" lIns="89630" tIns="179259" rIns="89630" bIns="89630" rtlCol="0" anchor="ctr" anchorCtr="0">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168040" indent="-168040" defTabSz="914049">
              <a:spcBef>
                <a:spcPts val="784"/>
              </a:spcBef>
              <a:buFont typeface="Arial" panose="020B0604020202020204" pitchFamily="34" charset="0"/>
              <a:buChar char="•"/>
            </a:pPr>
            <a:r>
              <a:rPr lang="ru-RU" sz="1371" dirty="0">
                <a:solidFill>
                  <a:srgbClr val="505050"/>
                </a:solidFill>
              </a:rPr>
              <a:t>Приобретение у наших партнеров </a:t>
            </a:r>
          </a:p>
          <a:p>
            <a:pPr marL="168040" indent="-168040" defTabSz="914049">
              <a:spcBef>
                <a:spcPts val="784"/>
              </a:spcBef>
              <a:buFont typeface="Arial" panose="020B0604020202020204" pitchFamily="34" charset="0"/>
              <a:buChar char="•"/>
            </a:pPr>
            <a:r>
              <a:rPr lang="ru-RU" sz="1371" dirty="0">
                <a:solidFill>
                  <a:srgbClr val="505050"/>
                </a:solidFill>
              </a:rPr>
              <a:t>Возможность оплаты ресурсов Microsoft Azure от </a:t>
            </a:r>
            <a:r>
              <a:rPr lang="en-US" sz="1371" dirty="0">
                <a:solidFill>
                  <a:srgbClr val="505050"/>
                </a:solidFill>
              </a:rPr>
              <a:t>5000</a:t>
            </a:r>
            <a:r>
              <a:rPr lang="ru-RU" sz="1371" dirty="0">
                <a:solidFill>
                  <a:srgbClr val="505050"/>
                </a:solidFill>
              </a:rPr>
              <a:t> рублей на 12 месяцев с возможностью пополнения счета подписки в любой момент, все подробности </a:t>
            </a:r>
            <a:r>
              <a:rPr lang="en-US" sz="1600" b="1" u="sng" dirty="0" smtClean="0">
                <a:solidFill>
                  <a:srgbClr val="505050"/>
                </a:solidFill>
              </a:rPr>
              <a:t>aka.ms/</a:t>
            </a:r>
            <a:r>
              <a:rPr lang="en-US" sz="1600" b="1" u="sng" dirty="0" err="1" smtClean="0">
                <a:solidFill>
                  <a:srgbClr val="505050"/>
                </a:solidFill>
              </a:rPr>
              <a:t>msazureruopen</a:t>
            </a:r>
            <a:endParaRPr lang="ru-RU" sz="1600" b="1" u="sng" dirty="0">
              <a:solidFill>
                <a:srgbClr val="505050"/>
              </a:solidFill>
            </a:endParaRPr>
          </a:p>
          <a:p>
            <a:pPr marL="168040" indent="-168040" defTabSz="914049">
              <a:spcBef>
                <a:spcPts val="784"/>
              </a:spcBef>
              <a:buFont typeface="Arial" panose="020B0604020202020204" pitchFamily="34" charset="0"/>
              <a:buChar char="•"/>
            </a:pPr>
            <a:r>
              <a:rPr lang="ru-RU" sz="1371" dirty="0">
                <a:solidFill>
                  <a:srgbClr val="505050"/>
                </a:solidFill>
              </a:rPr>
              <a:t> Данный вариант оплаты может быть полезен для предприятий малого и среднего бизнеса, а также для индивидуальных разработчиков</a:t>
            </a:r>
            <a:endParaRPr lang="en-US" sz="1371" dirty="0">
              <a:solidFill>
                <a:srgbClr val="505050"/>
              </a:solidFill>
            </a:endParaRPr>
          </a:p>
          <a:p>
            <a:pPr marL="168040" indent="-168040" defTabSz="914049">
              <a:spcBef>
                <a:spcPts val="784"/>
              </a:spcBef>
              <a:buFont typeface="Arial" panose="020B0604020202020204" pitchFamily="34" charset="0"/>
              <a:buChar char="•"/>
            </a:pPr>
            <a:r>
              <a:rPr lang="ru-RU" sz="1371" dirty="0">
                <a:solidFill>
                  <a:srgbClr val="505050"/>
                </a:solidFill>
              </a:rPr>
              <a:t> Для использования данного варианта оплаты не требуется кредитная карта, все документы предоставляются в соответсвии с российским бухучетом</a:t>
            </a:r>
            <a:endParaRPr lang="en-US" sz="1371" dirty="0">
              <a:solidFill>
                <a:srgbClr val="505050"/>
              </a:solidFill>
            </a:endParaRPr>
          </a:p>
        </p:txBody>
      </p:sp>
    </p:spTree>
    <p:extLst>
      <p:ext uri="{BB962C8B-B14F-4D97-AF65-F5344CB8AC3E}">
        <p14:creationId xmlns:p14="http://schemas.microsoft.com/office/powerpoint/2010/main" val="13248263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title"/>
          </p:nvPr>
        </p:nvSpPr>
        <p:spPr>
          <a:xfrm>
            <a:off x="0" y="-78086"/>
            <a:ext cx="11913142" cy="1260000"/>
          </a:xfrm>
        </p:spPr>
        <p:txBody>
          <a:bodyPr>
            <a:normAutofit/>
          </a:bodyPr>
          <a:lstStyle/>
          <a:p>
            <a:r>
              <a:rPr lang="ru-RU" dirty="0" smtClean="0"/>
              <a:t>Бизнес поддержка для партнеров-разработчиков</a:t>
            </a:r>
            <a:endParaRPr lang="ru-RU" dirty="0"/>
          </a:p>
        </p:txBody>
      </p:sp>
      <p:sp>
        <p:nvSpPr>
          <p:cNvPr id="5" name="Объект 4"/>
          <p:cNvSpPr>
            <a:spLocks noGrp="1"/>
          </p:cNvSpPr>
          <p:nvPr>
            <p:ph idx="1"/>
          </p:nvPr>
        </p:nvSpPr>
        <p:spPr>
          <a:xfrm>
            <a:off x="74810" y="1450421"/>
            <a:ext cx="7101189" cy="5040000"/>
          </a:xfrm>
        </p:spPr>
        <p:txBody>
          <a:bodyPr>
            <a:noAutofit/>
          </a:bodyPr>
          <a:lstStyle/>
          <a:p>
            <a:pPr lvl="2">
              <a:lnSpc>
                <a:spcPct val="100000"/>
              </a:lnSpc>
            </a:pPr>
            <a:r>
              <a:rPr lang="ru-RU" sz="2800" b="1" dirty="0" smtClean="0"/>
              <a:t>Мы делаем </a:t>
            </a:r>
            <a:r>
              <a:rPr lang="en-US" sz="2800" b="1" dirty="0" smtClean="0"/>
              <a:t>co-marketing</a:t>
            </a:r>
          </a:p>
          <a:p>
            <a:pPr lvl="2">
              <a:lnSpc>
                <a:spcPct val="100000"/>
              </a:lnSpc>
            </a:pPr>
            <a:r>
              <a:rPr lang="ru-RU" sz="2800" b="1" dirty="0" smtClean="0"/>
              <a:t>Прямой технический и бизнес контакт в </a:t>
            </a:r>
            <a:r>
              <a:rPr lang="en-US" sz="2800" b="1" dirty="0" smtClean="0"/>
              <a:t>Microsoft</a:t>
            </a:r>
          </a:p>
          <a:p>
            <a:pPr lvl="2">
              <a:lnSpc>
                <a:spcPct val="100000"/>
              </a:lnSpc>
            </a:pPr>
            <a:r>
              <a:rPr lang="ru-RU" sz="2800" b="1" dirty="0" smtClean="0"/>
              <a:t>Выгодные цены</a:t>
            </a:r>
          </a:p>
          <a:p>
            <a:pPr lvl="2">
              <a:lnSpc>
                <a:spcPct val="100000"/>
              </a:lnSpc>
            </a:pPr>
            <a:r>
              <a:rPr lang="ru-RU" sz="2800" b="1" dirty="0" smtClean="0"/>
              <a:t>Ранний доступ к бетам и превью</a:t>
            </a:r>
            <a:endParaRPr lang="en-US" sz="2800" b="1" dirty="0" smtClean="0"/>
          </a:p>
          <a:p>
            <a:pPr lvl="2">
              <a:lnSpc>
                <a:spcPct val="100000"/>
              </a:lnSpc>
            </a:pPr>
            <a:r>
              <a:rPr lang="ru-RU" sz="2800" b="1" dirty="0" smtClean="0"/>
              <a:t>Участие в наших событиях</a:t>
            </a:r>
            <a:endParaRPr lang="en-US" sz="2800" b="1" dirty="0" smtClean="0"/>
          </a:p>
          <a:p>
            <a:pPr lvl="2">
              <a:lnSpc>
                <a:spcPct val="100000"/>
              </a:lnSpc>
            </a:pPr>
            <a:r>
              <a:rPr lang="en-US" sz="2800" b="1" dirty="0" smtClean="0"/>
              <a:t>Go-To-Market </a:t>
            </a:r>
            <a:r>
              <a:rPr lang="ru-RU" sz="2800" b="1" dirty="0" smtClean="0"/>
              <a:t>на глобальном уровне практически в любом регионе мира</a:t>
            </a:r>
            <a:endParaRPr lang="en-US" sz="2800" b="1" dirty="0" smtClean="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175999" y="1989000"/>
            <a:ext cx="5097143" cy="2880000"/>
          </a:xfrm>
          <a:prstGeom prst="rect">
            <a:avLst/>
          </a:prstGeom>
        </p:spPr>
      </p:pic>
    </p:spTree>
    <p:extLst>
      <p:ext uri="{BB962C8B-B14F-4D97-AF65-F5344CB8AC3E}">
        <p14:creationId xmlns:p14="http://schemas.microsoft.com/office/powerpoint/2010/main" val="3271559526"/>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3"/>
          <p:cNvSpPr>
            <a:spLocks noGrp="1"/>
          </p:cNvSpPr>
          <p:nvPr>
            <p:ph type="title"/>
          </p:nvPr>
        </p:nvSpPr>
        <p:spPr>
          <a:xfrm>
            <a:off x="87316" y="0"/>
            <a:ext cx="10297800" cy="1260000"/>
          </a:xfrm>
        </p:spPr>
        <p:txBody>
          <a:bodyPr>
            <a:normAutofit/>
          </a:bodyPr>
          <a:lstStyle/>
          <a:p>
            <a:r>
              <a:rPr lang="ru-RU" sz="6600" b="1" dirty="0" smtClean="0"/>
              <a:t>Бесплатные опции</a:t>
            </a:r>
            <a:endParaRPr lang="ru-RU" sz="6600" b="1" dirty="0"/>
          </a:p>
        </p:txBody>
      </p:sp>
      <p:sp>
        <p:nvSpPr>
          <p:cNvPr id="3" name="Объект 4"/>
          <p:cNvSpPr txBox="1">
            <a:spLocks/>
          </p:cNvSpPr>
          <p:nvPr/>
        </p:nvSpPr>
        <p:spPr>
          <a:xfrm>
            <a:off x="0" y="1089000"/>
            <a:ext cx="10872505" cy="270000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2"/>
            <a:r>
              <a:rPr lang="en-US" sz="2400" smtClean="0"/>
              <a:t>30 </a:t>
            </a:r>
            <a:r>
              <a:rPr lang="ru-RU" sz="2400" smtClean="0"/>
              <a:t>дневный триал на </a:t>
            </a:r>
            <a:r>
              <a:rPr lang="en-US" sz="2400" smtClean="0"/>
              <a:t>windowsazure.com</a:t>
            </a:r>
            <a:endParaRPr lang="en-US" sz="2400" b="1" u="sng" smtClean="0">
              <a:solidFill>
                <a:schemeClr val="accent4"/>
              </a:solidFill>
            </a:endParaRPr>
          </a:p>
          <a:p>
            <a:pPr lvl="2"/>
            <a:r>
              <a:rPr lang="ru-RU" sz="2400" smtClean="0"/>
              <a:t>Триал</a:t>
            </a:r>
            <a:r>
              <a:rPr lang="en-US" sz="2400" smtClean="0"/>
              <a:t> </a:t>
            </a:r>
            <a:r>
              <a:rPr lang="ru-RU" sz="2400" smtClean="0"/>
              <a:t>для </a:t>
            </a:r>
            <a:r>
              <a:rPr lang="en-US" sz="2400" smtClean="0"/>
              <a:t>MSDN </a:t>
            </a:r>
            <a:r>
              <a:rPr lang="ru-RU" sz="2400" smtClean="0"/>
              <a:t>подписчиков </a:t>
            </a:r>
          </a:p>
          <a:p>
            <a:pPr lvl="2"/>
            <a:r>
              <a:rPr lang="ru-RU" sz="2400" smtClean="0"/>
              <a:t>Для стартапов - </a:t>
            </a:r>
            <a:r>
              <a:rPr lang="en-US" sz="2400" smtClean="0"/>
              <a:t>BizSpark </a:t>
            </a:r>
            <a:r>
              <a:rPr lang="ru-RU" sz="2400" smtClean="0"/>
              <a:t>на </a:t>
            </a:r>
            <a:r>
              <a:rPr lang="en-US" sz="2400" smtClean="0"/>
              <a:t>3 </a:t>
            </a:r>
            <a:r>
              <a:rPr lang="ru-RU" sz="2400" smtClean="0"/>
              <a:t>года – включает в себя 5 </a:t>
            </a:r>
            <a:r>
              <a:rPr lang="en-US" sz="2400" smtClean="0"/>
              <a:t>MSDN </a:t>
            </a:r>
            <a:r>
              <a:rPr lang="ru-RU" sz="2400" smtClean="0"/>
              <a:t>подписок!</a:t>
            </a:r>
          </a:p>
          <a:p>
            <a:pPr lvl="2"/>
            <a:r>
              <a:rPr lang="en-US" sz="2400" smtClean="0"/>
              <a:t>Windows Azure Offer $60K</a:t>
            </a:r>
            <a:r>
              <a:rPr lang="ru-RU" sz="2400" smtClean="0"/>
              <a:t> (</a:t>
            </a:r>
            <a:r>
              <a:rPr lang="en-US" sz="2400" smtClean="0"/>
              <a:t>BizSpark+) – </a:t>
            </a:r>
            <a:r>
              <a:rPr lang="ru-RU" sz="2400" smtClean="0"/>
              <a:t>облако на 1 год на </a:t>
            </a:r>
            <a:r>
              <a:rPr lang="en-US" sz="2400" smtClean="0"/>
              <a:t>$60 000 ( </a:t>
            </a:r>
            <a:r>
              <a:rPr lang="ru-RU" sz="2400" smtClean="0"/>
              <a:t>на конкурсной основе ) </a:t>
            </a:r>
          </a:p>
          <a:p>
            <a:pPr marL="87312" lvl="2" indent="0">
              <a:buFont typeface="Arial" panose="020B0604020202020204" pitchFamily="34" charset="0"/>
              <a:buNone/>
            </a:pPr>
            <a:endParaRPr lang="ru-RU" sz="2400" smtClean="0"/>
          </a:p>
          <a:p>
            <a:pPr marL="87312" lvl="2" indent="0">
              <a:buFont typeface="Arial" panose="020B0604020202020204" pitchFamily="34" charset="0"/>
              <a:buNone/>
            </a:pPr>
            <a:endParaRPr lang="en-US" sz="2400" dirty="0" smtClean="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6000" y="4158000"/>
            <a:ext cx="7560000" cy="2622857"/>
          </a:xfrm>
          <a:prstGeom prst="rect">
            <a:avLst/>
          </a:prstGeom>
        </p:spPr>
      </p:pic>
    </p:spTree>
    <p:extLst>
      <p:ext uri="{BB962C8B-B14F-4D97-AF65-F5344CB8AC3E}">
        <p14:creationId xmlns:p14="http://schemas.microsoft.com/office/powerpoint/2010/main" val="74456463"/>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3"/>
          <p:cNvSpPr>
            <a:spLocks noGrp="1"/>
          </p:cNvSpPr>
          <p:nvPr>
            <p:ph type="title"/>
          </p:nvPr>
        </p:nvSpPr>
        <p:spPr>
          <a:xfrm>
            <a:off x="87316" y="0"/>
            <a:ext cx="10297800" cy="1260000"/>
          </a:xfrm>
        </p:spPr>
        <p:txBody>
          <a:bodyPr>
            <a:normAutofit/>
          </a:bodyPr>
          <a:lstStyle/>
          <a:p>
            <a:r>
              <a:rPr lang="en-US" sz="6600" b="1" dirty="0" smtClean="0"/>
              <a:t>Web sites</a:t>
            </a:r>
            <a:endParaRPr lang="ru-RU" sz="6600" b="1" dirty="0"/>
          </a:p>
        </p:txBody>
      </p:sp>
      <p:sp>
        <p:nvSpPr>
          <p:cNvPr id="3" name="Объект 4"/>
          <p:cNvSpPr txBox="1">
            <a:spLocks/>
          </p:cNvSpPr>
          <p:nvPr/>
        </p:nvSpPr>
        <p:spPr>
          <a:xfrm>
            <a:off x="0" y="1089000"/>
            <a:ext cx="11778916" cy="270000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2"/>
            <a:r>
              <a:rPr lang="en-US" sz="2400" b="1" u="sng" dirty="0">
                <a:solidFill>
                  <a:srgbClr val="0070C0"/>
                </a:solidFill>
                <a:hlinkClick r:id="rId3"/>
              </a:rPr>
              <a:t>https://</a:t>
            </a:r>
            <a:r>
              <a:rPr lang="en-US" sz="2400" b="1" u="sng" dirty="0" smtClean="0">
                <a:solidFill>
                  <a:srgbClr val="0070C0"/>
                </a:solidFill>
                <a:hlinkClick r:id="rId3"/>
              </a:rPr>
              <a:t>github.com/projectkudu/kudu/wiki/Azure-Site-Extensions</a:t>
            </a:r>
            <a:endParaRPr lang="ru-RU" sz="2400" b="1" u="sng" dirty="0" smtClean="0">
              <a:solidFill>
                <a:srgbClr val="0070C0"/>
              </a:solidFill>
              <a:hlinkClick r:id="rId3"/>
            </a:endParaRPr>
          </a:p>
          <a:p>
            <a:pPr lvl="2"/>
            <a:r>
              <a:rPr lang="en-US" sz="2400" b="1" u="sng" dirty="0">
                <a:solidFill>
                  <a:srgbClr val="0070C0"/>
                </a:solidFill>
                <a:hlinkClick r:id="rId3"/>
              </a:rPr>
              <a:t>http://azure.microsoft.com/en-us/documentation/articles/websites-webjobs-resources</a:t>
            </a:r>
            <a:r>
              <a:rPr lang="en-US" sz="2400" b="1" u="sng" dirty="0" smtClean="0">
                <a:solidFill>
                  <a:srgbClr val="0070C0"/>
                </a:solidFill>
                <a:hlinkClick r:id="rId3"/>
              </a:rPr>
              <a:t>/</a:t>
            </a:r>
          </a:p>
          <a:p>
            <a:pPr lvl="2"/>
            <a:r>
              <a:rPr lang="en-US" sz="2400" b="1" u="sng" dirty="0">
                <a:solidFill>
                  <a:srgbClr val="0070C0"/>
                </a:solidFill>
                <a:hlinkClick r:id="rId3"/>
              </a:rPr>
              <a:t>http://</a:t>
            </a:r>
            <a:r>
              <a:rPr lang="en-US" sz="2400" b="1" u="sng" dirty="0" smtClean="0">
                <a:solidFill>
                  <a:srgbClr val="0070C0"/>
                </a:solidFill>
                <a:hlinkClick r:id="rId3"/>
              </a:rPr>
              <a:t>winscp.net/eng/docs/guide_microsoft_azure_webjob_sftp</a:t>
            </a:r>
            <a:endParaRPr lang="ru-RU" sz="2400" b="1" u="sng" dirty="0" smtClean="0">
              <a:solidFill>
                <a:srgbClr val="0070C0"/>
              </a:solidFill>
              <a:hlinkClick r:id="rId3"/>
            </a:endParaRPr>
          </a:p>
          <a:p>
            <a:pPr lvl="2"/>
            <a:r>
              <a:rPr lang="en-US" sz="2400" b="1" u="sng" dirty="0">
                <a:solidFill>
                  <a:srgbClr val="0070C0"/>
                </a:solidFill>
                <a:hlinkClick r:id="rId3"/>
              </a:rPr>
              <a:t>https://github.com/projectkudu/kudu/wiki/WebJobs-API</a:t>
            </a:r>
            <a:endParaRPr lang="ru-RU" sz="2400" b="1" u="sng" dirty="0" smtClean="0">
              <a:solidFill>
                <a:srgbClr val="0070C0"/>
              </a:solidFill>
              <a:hlinkClick r:id="rId3"/>
            </a:endParaRPr>
          </a:p>
          <a:p>
            <a:pPr lvl="2"/>
            <a:endParaRPr lang="en-US" sz="2400" b="1" u="sng" dirty="0" smtClean="0">
              <a:solidFill>
                <a:srgbClr val="0070C0"/>
              </a:solidFill>
              <a:hlinkClick r:id="rId3"/>
            </a:endParaRPr>
          </a:p>
          <a:p>
            <a:pPr lvl="2"/>
            <a:endParaRPr lang="en-US" sz="2400" b="1" u="sng" dirty="0">
              <a:solidFill>
                <a:srgbClr val="0070C0"/>
              </a:solidFill>
              <a:hlinkClick r:id="rId3"/>
            </a:endParaRPr>
          </a:p>
        </p:txBody>
      </p:sp>
    </p:spTree>
    <p:extLst>
      <p:ext uri="{BB962C8B-B14F-4D97-AF65-F5344CB8AC3E}">
        <p14:creationId xmlns:p14="http://schemas.microsoft.com/office/powerpoint/2010/main" val="408983622"/>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7198" y="2049509"/>
            <a:ext cx="10894702" cy="3702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itle 1"/>
          <p:cNvSpPr txBox="1">
            <a:spLocks/>
          </p:cNvSpPr>
          <p:nvPr/>
        </p:nvSpPr>
        <p:spPr>
          <a:xfrm>
            <a:off x="404996" y="377814"/>
            <a:ext cx="10676904" cy="85870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ru-RU" sz="5400" b="1" dirty="0" smtClean="0"/>
              <a:t>Использование ресурсов</a:t>
            </a:r>
            <a:endParaRPr lang="ru-RU" sz="5400" b="1" dirty="0"/>
          </a:p>
        </p:txBody>
      </p:sp>
    </p:spTree>
    <p:extLst>
      <p:ext uri="{BB962C8B-B14F-4D97-AF65-F5344CB8AC3E}">
        <p14:creationId xmlns:p14="http://schemas.microsoft.com/office/powerpoint/2010/main" val="142983620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3"/>
          <p:cNvSpPr>
            <a:spLocks noGrp="1"/>
          </p:cNvSpPr>
          <p:nvPr>
            <p:ph type="title"/>
          </p:nvPr>
        </p:nvSpPr>
        <p:spPr>
          <a:xfrm>
            <a:off x="87316" y="0"/>
            <a:ext cx="10297800" cy="1260000"/>
          </a:xfrm>
        </p:spPr>
        <p:txBody>
          <a:bodyPr>
            <a:normAutofit/>
          </a:bodyPr>
          <a:lstStyle/>
          <a:p>
            <a:r>
              <a:rPr lang="en-US" sz="6600" b="1" dirty="0" smtClean="0"/>
              <a:t>Traffic Manager</a:t>
            </a:r>
            <a:endParaRPr lang="ru-RU" sz="6600" b="1" dirty="0"/>
          </a:p>
        </p:txBody>
      </p:sp>
      <p:sp>
        <p:nvSpPr>
          <p:cNvPr id="3" name="Объект 4"/>
          <p:cNvSpPr txBox="1">
            <a:spLocks/>
          </p:cNvSpPr>
          <p:nvPr/>
        </p:nvSpPr>
        <p:spPr>
          <a:xfrm>
            <a:off x="0" y="1089000"/>
            <a:ext cx="11778916" cy="270000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2"/>
            <a:r>
              <a:rPr lang="en-US" sz="2400" b="1" u="sng" dirty="0">
                <a:solidFill>
                  <a:srgbClr val="0070C0"/>
                </a:solidFill>
                <a:hlinkClick r:id="rId3"/>
              </a:rPr>
              <a:t>http://edua.rdomunoz.com/blog/traffic-manager-external-powershell/</a:t>
            </a:r>
          </a:p>
          <a:p>
            <a:pPr lvl="2"/>
            <a:r>
              <a:rPr lang="en-US" sz="2400" b="1" u="sng" dirty="0" smtClean="0">
                <a:solidFill>
                  <a:srgbClr val="0070C0"/>
                </a:solidFill>
                <a:hlinkClick r:id="rId3"/>
              </a:rPr>
              <a:t>http</a:t>
            </a:r>
            <a:r>
              <a:rPr lang="en-US" sz="2400" b="1" u="sng" dirty="0">
                <a:solidFill>
                  <a:srgbClr val="0070C0"/>
                </a:solidFill>
                <a:hlinkClick r:id="rId3"/>
              </a:rPr>
              <a:t>://azure.microsoft.com/blog/2014/06/26/azure-traffic-manager-external-endpoints-and-weighted-round-robin-via-powershell/</a:t>
            </a:r>
            <a:endParaRPr lang="en-US" sz="2400" b="1" u="sng" dirty="0" smtClean="0">
              <a:solidFill>
                <a:srgbClr val="0070C0"/>
              </a:solidFill>
              <a:hlinkClick r:id="rId3"/>
            </a:endParaRPr>
          </a:p>
          <a:p>
            <a:pPr lvl="2"/>
            <a:endParaRPr lang="en-US" sz="2400" b="1" u="sng" dirty="0">
              <a:solidFill>
                <a:srgbClr val="0070C0"/>
              </a:solidFill>
              <a:hlinkClick r:id="rId3"/>
            </a:endParaRPr>
          </a:p>
        </p:txBody>
      </p:sp>
    </p:spTree>
    <p:extLst>
      <p:ext uri="{BB962C8B-B14F-4D97-AF65-F5344CB8AC3E}">
        <p14:creationId xmlns:p14="http://schemas.microsoft.com/office/powerpoint/2010/main" val="3439521351"/>
      </p:ext>
    </p:extLst>
  </p:cSld>
  <p:clrMapOvr>
    <a:masterClrMapping/>
  </p:clrMapOvr>
  <p:transition>
    <p:fade/>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2"/>
          <p:cNvSpPr txBox="1">
            <a:spLocks/>
          </p:cNvSpPr>
          <p:nvPr/>
        </p:nvSpPr>
        <p:spPr>
          <a:xfrm>
            <a:off x="1738303" y="1036002"/>
            <a:ext cx="8363938" cy="567848"/>
          </a:xfrm>
          <a:prstGeom prst="rect">
            <a:avLst/>
          </a:prstGeom>
        </p:spPr>
        <p:txBody>
          <a:bodyPr/>
          <a:lstStyle>
            <a:lvl1pPr algn="l" defTabSz="1096049" rtl="0" eaLnBrk="1" latinLnBrk="0" hangingPunct="1">
              <a:lnSpc>
                <a:spcPct val="90000"/>
              </a:lnSpc>
              <a:spcBef>
                <a:spcPct val="0"/>
              </a:spcBef>
              <a:buNone/>
              <a:defRPr lang="en-US" sz="6600" b="0" kern="1200" cap="none" spc="-12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ru-RU" sz="4125" dirty="0">
                <a:solidFill>
                  <a:srgbClr val="FFFFFF"/>
                </a:solidFill>
              </a:rPr>
              <a:t>Изучайте и присоединяйтесь!</a:t>
            </a:r>
          </a:p>
        </p:txBody>
      </p:sp>
      <p:sp>
        <p:nvSpPr>
          <p:cNvPr id="5" name="Объект 3"/>
          <p:cNvSpPr txBox="1">
            <a:spLocks/>
          </p:cNvSpPr>
          <p:nvPr/>
        </p:nvSpPr>
        <p:spPr>
          <a:xfrm>
            <a:off x="2311880" y="1935115"/>
            <a:ext cx="2994422" cy="3717941"/>
          </a:xfrm>
          <a:prstGeom prst="rect">
            <a:avLst/>
          </a:prstGeom>
        </p:spPr>
        <p:txBody>
          <a:bodyPr vert="horz" wrap="square" lIns="0" tIns="0" rIns="0" bIns="0" rtlCol="0">
            <a:spAutoFit/>
          </a:bodyPr>
          <a:lstStyle>
            <a:lvl1pPr marL="551854" indent="-551854" algn="l" defTabSz="1096049" rtl="0" eaLnBrk="1" latinLnBrk="0" hangingPunct="1">
              <a:lnSpc>
                <a:spcPct val="90000"/>
              </a:lnSpc>
              <a:spcBef>
                <a:spcPct val="20000"/>
              </a:spcBef>
              <a:buSzPct val="80000"/>
              <a:buFont typeface="Arial" pitchFamily="34" charset="0"/>
              <a:buChar char="•"/>
              <a:defRPr sz="3800" kern="1200">
                <a:gradFill>
                  <a:gsLst>
                    <a:gs pos="0">
                      <a:srgbClr val="595959"/>
                    </a:gs>
                    <a:gs pos="86000">
                      <a:srgbClr val="595959"/>
                    </a:gs>
                  </a:gsLst>
                  <a:lin ang="5400000" scaled="0"/>
                </a:gradFill>
                <a:latin typeface="+mn-lt"/>
                <a:ea typeface="+mn-ea"/>
                <a:cs typeface="+mn-cs"/>
              </a:defRPr>
            </a:lvl1pPr>
            <a:lvl2pPr marL="1025686" indent="-473832" algn="l" defTabSz="1096049" rtl="0" eaLnBrk="1" latinLnBrk="0" hangingPunct="1">
              <a:lnSpc>
                <a:spcPct val="90000"/>
              </a:lnSpc>
              <a:spcBef>
                <a:spcPct val="20000"/>
              </a:spcBef>
              <a:buSzPct val="80000"/>
              <a:buFont typeface="Arial" pitchFamily="34" charset="0"/>
              <a:buChar char="•"/>
              <a:defRPr sz="3400" kern="1200">
                <a:gradFill>
                  <a:gsLst>
                    <a:gs pos="0">
                      <a:srgbClr val="595959"/>
                    </a:gs>
                    <a:gs pos="86000">
                      <a:srgbClr val="595959"/>
                    </a:gs>
                  </a:gsLst>
                  <a:lin ang="5400000" scaled="0"/>
                </a:gradFill>
                <a:latin typeface="+mn-lt"/>
                <a:ea typeface="+mn-ea"/>
                <a:cs typeface="+mn-cs"/>
              </a:defRPr>
            </a:lvl2pPr>
            <a:lvl3pPr marL="1509032" indent="-483357" algn="l" defTabSz="1096049" rtl="0" eaLnBrk="1" latinLnBrk="0" hangingPunct="1">
              <a:lnSpc>
                <a:spcPct val="90000"/>
              </a:lnSpc>
              <a:spcBef>
                <a:spcPct val="20000"/>
              </a:spcBef>
              <a:buSzPct val="80000"/>
              <a:buFont typeface="Arial" pitchFamily="34" charset="0"/>
              <a:buChar char="•"/>
              <a:defRPr sz="2900" kern="1200">
                <a:gradFill>
                  <a:gsLst>
                    <a:gs pos="0">
                      <a:srgbClr val="595959"/>
                    </a:gs>
                    <a:gs pos="86000">
                      <a:srgbClr val="595959"/>
                    </a:gs>
                  </a:gsLst>
                  <a:lin ang="5400000" scaled="0"/>
                </a:gradFill>
                <a:latin typeface="+mn-lt"/>
                <a:ea typeface="+mn-ea"/>
                <a:cs typeface="+mn-cs"/>
              </a:defRPr>
            </a:lvl3pPr>
            <a:lvl4pPr marL="1923875" indent="-414836" algn="l" defTabSz="1096049"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4pPr>
            <a:lvl5pPr marL="2327301" indent="-403423" algn="l" defTabSz="1096049"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5pPr>
            <a:lvl6pPr marL="3014140" indent="-274012" algn="l" defTabSz="1096049"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62166" indent="-274012" algn="l" defTabSz="1096049"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110191" indent="-274012" algn="l" defTabSz="1096049"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58221" indent="-274012" algn="l" defTabSz="1096049"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buNone/>
            </a:pPr>
            <a:r>
              <a:rPr lang="en-US" sz="1750" dirty="0" err="1">
                <a:solidFill>
                  <a:srgbClr val="FFFFFF"/>
                </a:solidFill>
                <a:latin typeface="Segoe UI Light" pitchFamily="34" charset="0"/>
              </a:rPr>
              <a:t>Центр</a:t>
            </a:r>
            <a:r>
              <a:rPr lang="en-US" sz="1750" dirty="0">
                <a:solidFill>
                  <a:srgbClr val="FFFFFF"/>
                </a:solidFill>
                <a:latin typeface="Segoe UI Light" pitchFamily="34" charset="0"/>
              </a:rPr>
              <a:t> </a:t>
            </a:r>
            <a:r>
              <a:rPr lang="en-US" sz="1750" dirty="0" err="1">
                <a:solidFill>
                  <a:srgbClr val="FFFFFF"/>
                </a:solidFill>
                <a:latin typeface="Segoe UI Light" pitchFamily="34" charset="0"/>
              </a:rPr>
              <a:t>разработки</a:t>
            </a:r>
            <a:r>
              <a:rPr lang="en-US" sz="1750" dirty="0">
                <a:solidFill>
                  <a:srgbClr val="FFFFFF"/>
                </a:solidFill>
                <a:latin typeface="Segoe UI Light" pitchFamily="34" charset="0"/>
              </a:rPr>
              <a:t> </a:t>
            </a:r>
            <a:endParaRPr lang="en-US" sz="1750" dirty="0" smtClean="0">
              <a:solidFill>
                <a:srgbClr val="FFFFFF"/>
              </a:solidFill>
              <a:latin typeface="Segoe UI Light" pitchFamily="34" charset="0"/>
            </a:endParaRPr>
          </a:p>
          <a:p>
            <a:pPr marL="0" indent="0">
              <a:buNone/>
            </a:pPr>
            <a:r>
              <a:rPr lang="en-US" sz="2800" b="1" u="sng" dirty="0" smtClean="0">
                <a:solidFill>
                  <a:srgbClr val="FFFFFF"/>
                </a:solidFill>
                <a:latin typeface="Segoe UI Light" pitchFamily="34" charset="0"/>
              </a:rPr>
              <a:t>azurehub.ru </a:t>
            </a:r>
            <a:endParaRPr lang="en-US" sz="2800" b="1" u="sng" dirty="0">
              <a:solidFill>
                <a:srgbClr val="FFFFFF"/>
              </a:solidFill>
              <a:latin typeface="Segoe UI Light" pitchFamily="34" charset="0"/>
            </a:endParaRPr>
          </a:p>
          <a:p>
            <a:pPr marL="0" indent="0">
              <a:buNone/>
            </a:pPr>
            <a:endParaRPr lang="ru-RU" sz="2750" dirty="0" smtClean="0">
              <a:solidFill>
                <a:srgbClr val="FFFFFF"/>
              </a:solidFill>
              <a:latin typeface="Segoe UI Light" pitchFamily="34" charset="0"/>
            </a:endParaRPr>
          </a:p>
          <a:p>
            <a:pPr marL="0" indent="0">
              <a:buNone/>
            </a:pPr>
            <a:r>
              <a:rPr lang="ru-RU" sz="1750" dirty="0" smtClean="0">
                <a:solidFill>
                  <a:srgbClr val="FFFFFF"/>
                </a:solidFill>
                <a:latin typeface="Segoe UI Light" pitchFamily="34" charset="0"/>
              </a:rPr>
              <a:t>Портал </a:t>
            </a:r>
            <a:r>
              <a:rPr lang="en-US" sz="1750" dirty="0">
                <a:solidFill>
                  <a:srgbClr val="FFFFFF"/>
                </a:solidFill>
                <a:latin typeface="Segoe UI Light" pitchFamily="34" charset="0"/>
              </a:rPr>
              <a:t>Windows Azure </a:t>
            </a:r>
          </a:p>
          <a:p>
            <a:pPr marL="0" indent="0">
              <a:buNone/>
            </a:pPr>
            <a:r>
              <a:rPr lang="en-US" sz="2800" b="1" u="sng" dirty="0" smtClean="0">
                <a:solidFill>
                  <a:srgbClr val="FFFFFF"/>
                </a:solidFill>
                <a:latin typeface="Segoe UI Light" pitchFamily="34" charset="0"/>
              </a:rPr>
              <a:t>azure.com </a:t>
            </a:r>
            <a:endParaRPr lang="en-US" sz="2800" b="1" u="sng" dirty="0">
              <a:solidFill>
                <a:srgbClr val="FFFFFF"/>
              </a:solidFill>
              <a:latin typeface="Segoe UI Light" pitchFamily="34" charset="0"/>
            </a:endParaRPr>
          </a:p>
          <a:p>
            <a:pPr marL="0" indent="0">
              <a:buNone/>
            </a:pPr>
            <a:endParaRPr lang="ru-RU" sz="1750" dirty="0" smtClean="0">
              <a:solidFill>
                <a:srgbClr val="FFFFFF"/>
              </a:solidFill>
              <a:latin typeface="Segoe UI Light" pitchFamily="34" charset="0"/>
            </a:endParaRPr>
          </a:p>
          <a:p>
            <a:pPr marL="0" indent="0">
              <a:buNone/>
            </a:pPr>
            <a:endParaRPr lang="ru-RU" sz="1750" dirty="0" smtClean="0">
              <a:solidFill>
                <a:srgbClr val="FFFFFF"/>
              </a:solidFill>
              <a:latin typeface="Segoe UI Light" pitchFamily="34" charset="0"/>
            </a:endParaRPr>
          </a:p>
          <a:p>
            <a:pPr marL="0" indent="0">
              <a:buNone/>
            </a:pPr>
            <a:r>
              <a:rPr lang="ru-RU" sz="1750" dirty="0" smtClean="0">
                <a:solidFill>
                  <a:srgbClr val="FFFFFF"/>
                </a:solidFill>
                <a:latin typeface="Segoe UI Light" pitchFamily="34" charset="0"/>
              </a:rPr>
              <a:t>Контактный емейл для всех вопросов по</a:t>
            </a:r>
            <a:r>
              <a:rPr lang="en-US" sz="1750" dirty="0" smtClean="0">
                <a:solidFill>
                  <a:srgbClr val="FFFFFF"/>
                </a:solidFill>
                <a:latin typeface="Segoe UI Light" pitchFamily="34" charset="0"/>
              </a:rPr>
              <a:t> Windows Azure</a:t>
            </a:r>
          </a:p>
          <a:p>
            <a:pPr marL="0" indent="0">
              <a:buNone/>
            </a:pPr>
            <a:r>
              <a:rPr lang="en-US" sz="2000" b="1" u="sng" dirty="0" smtClean="0">
                <a:solidFill>
                  <a:srgbClr val="FFFFFF"/>
                </a:solidFill>
                <a:latin typeface="Segoe UI Light" pitchFamily="34" charset="0"/>
              </a:rPr>
              <a:t>AzureRus@microsoft.com</a:t>
            </a:r>
            <a:endParaRPr lang="ru-RU" sz="2000" b="1" u="sng" dirty="0" smtClean="0">
              <a:solidFill>
                <a:srgbClr val="FFFFFF"/>
              </a:solidFill>
              <a:latin typeface="Segoe UI Light" pitchFamily="34" charset="0"/>
            </a:endParaRPr>
          </a:p>
          <a:p>
            <a:pPr marL="0" indent="0">
              <a:buNone/>
            </a:pPr>
            <a:endParaRPr lang="en-US" sz="1750" dirty="0">
              <a:solidFill>
                <a:srgbClr val="FFFFFF"/>
              </a:solidFill>
            </a:endParaRPr>
          </a:p>
        </p:txBody>
      </p:sp>
      <p:sp>
        <p:nvSpPr>
          <p:cNvPr id="6" name="Объект 4"/>
          <p:cNvSpPr txBox="1">
            <a:spLocks/>
          </p:cNvSpPr>
          <p:nvPr/>
        </p:nvSpPr>
        <p:spPr>
          <a:xfrm>
            <a:off x="7123279" y="1935115"/>
            <a:ext cx="4800016" cy="3424784"/>
          </a:xfrm>
          <a:prstGeom prst="rect">
            <a:avLst/>
          </a:prstGeom>
        </p:spPr>
        <p:txBody>
          <a:bodyPr vert="horz" wrap="square" lIns="0" tIns="0" rIns="0" bIns="0" rtlCol="0">
            <a:spAutoFit/>
          </a:bodyPr>
          <a:lstStyle>
            <a:lvl1pPr marL="551854" indent="-551854" algn="l" defTabSz="1096049" rtl="0" eaLnBrk="1" latinLnBrk="0" hangingPunct="1">
              <a:lnSpc>
                <a:spcPct val="90000"/>
              </a:lnSpc>
              <a:spcBef>
                <a:spcPct val="20000"/>
              </a:spcBef>
              <a:buSzPct val="80000"/>
              <a:buFont typeface="Arial" pitchFamily="34" charset="0"/>
              <a:buChar char="•"/>
              <a:defRPr sz="3800" kern="1200">
                <a:gradFill>
                  <a:gsLst>
                    <a:gs pos="0">
                      <a:srgbClr val="595959"/>
                    </a:gs>
                    <a:gs pos="86000">
                      <a:srgbClr val="595959"/>
                    </a:gs>
                  </a:gsLst>
                  <a:lin ang="5400000" scaled="0"/>
                </a:gradFill>
                <a:latin typeface="+mn-lt"/>
                <a:ea typeface="+mn-ea"/>
                <a:cs typeface="+mn-cs"/>
              </a:defRPr>
            </a:lvl1pPr>
            <a:lvl2pPr marL="1025686" indent="-473832" algn="l" defTabSz="1096049" rtl="0" eaLnBrk="1" latinLnBrk="0" hangingPunct="1">
              <a:lnSpc>
                <a:spcPct val="90000"/>
              </a:lnSpc>
              <a:spcBef>
                <a:spcPct val="20000"/>
              </a:spcBef>
              <a:buSzPct val="80000"/>
              <a:buFont typeface="Arial" pitchFamily="34" charset="0"/>
              <a:buChar char="•"/>
              <a:defRPr sz="3400" kern="1200">
                <a:gradFill>
                  <a:gsLst>
                    <a:gs pos="0">
                      <a:srgbClr val="595959"/>
                    </a:gs>
                    <a:gs pos="86000">
                      <a:srgbClr val="595959"/>
                    </a:gs>
                  </a:gsLst>
                  <a:lin ang="5400000" scaled="0"/>
                </a:gradFill>
                <a:latin typeface="+mn-lt"/>
                <a:ea typeface="+mn-ea"/>
                <a:cs typeface="+mn-cs"/>
              </a:defRPr>
            </a:lvl2pPr>
            <a:lvl3pPr marL="1509032" indent="-483357" algn="l" defTabSz="1096049" rtl="0" eaLnBrk="1" latinLnBrk="0" hangingPunct="1">
              <a:lnSpc>
                <a:spcPct val="90000"/>
              </a:lnSpc>
              <a:spcBef>
                <a:spcPct val="20000"/>
              </a:spcBef>
              <a:buSzPct val="80000"/>
              <a:buFont typeface="Arial" pitchFamily="34" charset="0"/>
              <a:buChar char="•"/>
              <a:defRPr sz="2900" kern="1200">
                <a:gradFill>
                  <a:gsLst>
                    <a:gs pos="0">
                      <a:srgbClr val="595959"/>
                    </a:gs>
                    <a:gs pos="86000">
                      <a:srgbClr val="595959"/>
                    </a:gs>
                  </a:gsLst>
                  <a:lin ang="5400000" scaled="0"/>
                </a:gradFill>
                <a:latin typeface="+mn-lt"/>
                <a:ea typeface="+mn-ea"/>
                <a:cs typeface="+mn-cs"/>
              </a:defRPr>
            </a:lvl3pPr>
            <a:lvl4pPr marL="1923875" indent="-414836" algn="l" defTabSz="1096049"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4pPr>
            <a:lvl5pPr marL="2327301" indent="-403423" algn="l" defTabSz="1096049"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5pPr>
            <a:lvl6pPr marL="3014140" indent="-274012" algn="l" defTabSz="1096049"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62166" indent="-274012" algn="l" defTabSz="1096049"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110191" indent="-274012" algn="l" defTabSz="1096049"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58221" indent="-274012" algn="l" defTabSz="1096049"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buNone/>
            </a:pPr>
            <a:r>
              <a:rPr lang="ru-RU" sz="1750" dirty="0" smtClean="0">
                <a:solidFill>
                  <a:srgbClr val="FFFFFF"/>
                </a:solidFill>
                <a:latin typeface="Segoe Light" pitchFamily="34" charset="0"/>
              </a:rPr>
              <a:t>Сообщество</a:t>
            </a:r>
            <a:r>
              <a:rPr lang="en-US" sz="1750" dirty="0" smtClean="0">
                <a:solidFill>
                  <a:srgbClr val="FFFFFF"/>
                </a:solidFill>
                <a:latin typeface="Segoe Light" pitchFamily="34" charset="0"/>
              </a:rPr>
              <a:t> </a:t>
            </a:r>
            <a:r>
              <a:rPr lang="ru-RU" sz="1750" dirty="0" smtClean="0">
                <a:solidFill>
                  <a:srgbClr val="FFFFFF"/>
                </a:solidFill>
                <a:latin typeface="Segoe Light" pitchFamily="34" charset="0"/>
              </a:rPr>
              <a:t>пользователей</a:t>
            </a:r>
            <a:endParaRPr lang="en-US" sz="1750" dirty="0">
              <a:solidFill>
                <a:srgbClr val="FFFFFF"/>
              </a:solidFill>
              <a:latin typeface="Segoe Light" pitchFamily="34" charset="0"/>
            </a:endParaRPr>
          </a:p>
          <a:p>
            <a:pPr marL="0" indent="0">
              <a:buNone/>
            </a:pPr>
            <a:r>
              <a:rPr lang="en-US" sz="2400" b="1" u="sng" dirty="0" smtClean="0">
                <a:solidFill>
                  <a:srgbClr val="FFFFFF"/>
                </a:solidFill>
                <a:latin typeface="Segoe Light" pitchFamily="34" charset="0"/>
              </a:rPr>
              <a:t>facebook.com/groups/</a:t>
            </a:r>
            <a:r>
              <a:rPr lang="en-US" sz="2400" b="1" u="sng" dirty="0" err="1" smtClean="0">
                <a:solidFill>
                  <a:srgbClr val="FFFFFF"/>
                </a:solidFill>
                <a:latin typeface="Segoe Light" pitchFamily="34" charset="0"/>
              </a:rPr>
              <a:t>azurerus</a:t>
            </a:r>
            <a:endParaRPr lang="en-US" sz="2400" b="1" u="sng" dirty="0">
              <a:solidFill>
                <a:srgbClr val="FFFFFF"/>
              </a:solidFill>
              <a:latin typeface="Segoe Light" pitchFamily="34" charset="0"/>
            </a:endParaRPr>
          </a:p>
          <a:p>
            <a:pPr marL="0" indent="0">
              <a:buNone/>
            </a:pPr>
            <a:endParaRPr lang="ru-RU" sz="1750" dirty="0" smtClean="0">
              <a:solidFill>
                <a:srgbClr val="FFFFFF"/>
              </a:solidFill>
              <a:latin typeface="Segoe Light" pitchFamily="34" charset="0"/>
            </a:endParaRPr>
          </a:p>
          <a:p>
            <a:pPr marL="0" indent="0">
              <a:buNone/>
            </a:pPr>
            <a:endParaRPr lang="ru-RU" sz="1750" dirty="0" smtClean="0">
              <a:solidFill>
                <a:srgbClr val="FFFFFF"/>
              </a:solidFill>
              <a:latin typeface="Segoe Light" pitchFamily="34" charset="0"/>
            </a:endParaRPr>
          </a:p>
          <a:p>
            <a:pPr marL="0" indent="0">
              <a:buNone/>
            </a:pPr>
            <a:r>
              <a:rPr lang="ru-RU" sz="1750" dirty="0" smtClean="0">
                <a:solidFill>
                  <a:srgbClr val="FFFFFF"/>
                </a:solidFill>
                <a:latin typeface="Segoe Light" pitchFamily="34" charset="0"/>
              </a:rPr>
              <a:t>Последние </a:t>
            </a:r>
            <a:r>
              <a:rPr lang="ru-RU" sz="1750" dirty="0">
                <a:solidFill>
                  <a:srgbClr val="FFFFFF"/>
                </a:solidFill>
                <a:latin typeface="Segoe Light" pitchFamily="34" charset="0"/>
              </a:rPr>
              <a:t>новости</a:t>
            </a:r>
          </a:p>
          <a:p>
            <a:pPr marL="0" indent="0">
              <a:buNone/>
            </a:pPr>
            <a:r>
              <a:rPr lang="en-US" sz="2400" b="1" u="sng" dirty="0" smtClean="0">
                <a:solidFill>
                  <a:srgbClr val="FFFFFF"/>
                </a:solidFill>
                <a:latin typeface="Segoe Light" pitchFamily="34" charset="0"/>
              </a:rPr>
              <a:t>@</a:t>
            </a:r>
            <a:r>
              <a:rPr lang="en-US" sz="2400" b="1" u="sng" dirty="0" err="1" smtClean="0">
                <a:solidFill>
                  <a:srgbClr val="FFFFFF"/>
                </a:solidFill>
                <a:latin typeface="Segoe Light" pitchFamily="34" charset="0"/>
              </a:rPr>
              <a:t>windowsazure_ru</a:t>
            </a:r>
            <a:endParaRPr lang="en-US" sz="2400" b="1" u="sng" dirty="0">
              <a:solidFill>
                <a:srgbClr val="FFFFFF"/>
              </a:solidFill>
              <a:latin typeface="Segoe Light" pitchFamily="34" charset="0"/>
            </a:endParaRPr>
          </a:p>
          <a:p>
            <a:pPr marL="0" indent="0">
              <a:buNone/>
            </a:pPr>
            <a:endParaRPr lang="en-US" sz="1750" b="1" dirty="0">
              <a:solidFill>
                <a:srgbClr val="FFFFFF"/>
              </a:solidFill>
              <a:latin typeface="Segoe Light" pitchFamily="34" charset="0"/>
            </a:endParaRPr>
          </a:p>
          <a:p>
            <a:endParaRPr lang="en-US" sz="1750" b="1" u="sng" dirty="0">
              <a:solidFill>
                <a:srgbClr val="FFFFFF"/>
              </a:solidFill>
              <a:latin typeface="Segoe Light" pitchFamily="34" charset="0"/>
            </a:endParaRPr>
          </a:p>
          <a:p>
            <a:endParaRPr lang="en-US" sz="1750" b="1" u="sng" dirty="0">
              <a:solidFill>
                <a:srgbClr val="FFFFFF"/>
              </a:solidFill>
              <a:latin typeface="Segoe Light" pitchFamily="34" charset="0"/>
            </a:endParaRPr>
          </a:p>
          <a:p>
            <a:endParaRPr lang="en-US" sz="1750" b="1" u="sng" dirty="0">
              <a:solidFill>
                <a:srgbClr val="FFFFFF"/>
              </a:solidFill>
              <a:latin typeface="Segoe Light" pitchFamily="34" charset="0"/>
            </a:endParaRPr>
          </a:p>
          <a:p>
            <a:endParaRPr lang="en-US" sz="1750" dirty="0">
              <a:solidFill>
                <a:srgbClr val="FFFFFF"/>
              </a:solidFill>
              <a:latin typeface="Segoe Light" pitchFamily="34" charset="0"/>
            </a:endParaRPr>
          </a:p>
        </p:txBody>
      </p:sp>
      <p:pic>
        <p:nvPicPr>
          <p:cNvPr id="9" name="Picture 5"/>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10231" y="1806208"/>
            <a:ext cx="1106163" cy="10937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6"/>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61000"/>
                    </a14:imgEffect>
                  </a14:imgLayer>
                </a14:imgProps>
              </a:ext>
              <a:ext uri="{28A0092B-C50C-407E-A947-70E740481C1C}">
                <a14:useLocalDpi xmlns:a14="http://schemas.microsoft.com/office/drawing/2010/main" val="0"/>
              </a:ext>
            </a:extLst>
          </a:blip>
          <a:srcRect/>
          <a:stretch>
            <a:fillRect/>
          </a:stretch>
        </p:blipFill>
        <p:spPr bwMode="auto">
          <a:xfrm>
            <a:off x="1047466" y="4492109"/>
            <a:ext cx="1009552" cy="9456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Рисунок 10"/>
          <p:cNvPicPr>
            <a:picLocks noChangeAspect="1"/>
          </p:cNvPicPr>
          <p:nvPr/>
        </p:nvPicPr>
        <p:blipFill rotWithShape="1">
          <a:blip r:embed="rId5" cstate="print">
            <a:extLst>
              <a:ext uri="{28A0092B-C50C-407E-A947-70E740481C1C}">
                <a14:useLocalDpi xmlns:a14="http://schemas.microsoft.com/office/drawing/2010/main" val="0"/>
              </a:ext>
            </a:extLst>
          </a:blip>
          <a:srcRect l="3708" t="18596" r="78588" b="11381"/>
          <a:stretch/>
        </p:blipFill>
        <p:spPr>
          <a:xfrm>
            <a:off x="927448" y="3107503"/>
            <a:ext cx="1271728" cy="1211578"/>
          </a:xfrm>
          <a:prstGeom prst="rect">
            <a:avLst/>
          </a:prstGeom>
        </p:spPr>
      </p:pic>
      <p:sp>
        <p:nvSpPr>
          <p:cNvPr id="2" name="Rectangle 1"/>
          <p:cNvSpPr/>
          <p:nvPr/>
        </p:nvSpPr>
        <p:spPr>
          <a:xfrm>
            <a:off x="8429146" y="0"/>
            <a:ext cx="6958141" cy="1015663"/>
          </a:xfrm>
          <a:prstGeom prst="rect">
            <a:avLst/>
          </a:prstGeom>
        </p:spPr>
        <p:txBody>
          <a:bodyPr wrap="square">
            <a:spAutoFit/>
          </a:bodyPr>
          <a:lstStyle/>
          <a:p>
            <a:r>
              <a:rPr lang="ru-RU" sz="6000" dirty="0">
                <a:solidFill>
                  <a:schemeClr val="bg1"/>
                </a:solidFill>
                <a:latin typeface="Segoe Light" pitchFamily="34" charset="0"/>
              </a:rPr>
              <a:t>Полезные  ресурсы</a:t>
            </a:r>
            <a:endParaRPr lang="en-US" sz="6000" dirty="0">
              <a:solidFill>
                <a:schemeClr val="bg1"/>
              </a:solidFill>
              <a:latin typeface="Segoe Light" pitchFamily="34" charset="0"/>
            </a:endParaRPr>
          </a:p>
        </p:txBody>
      </p:sp>
      <p:pic>
        <p:nvPicPr>
          <p:cNvPr id="22530" name="Picture 2" descr="http://www.apse.org/images/fb.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640586" y="1806211"/>
            <a:ext cx="1149239" cy="1148941"/>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New Twitter Logo"/>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565243" y="3259395"/>
            <a:ext cx="1223752" cy="8435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11663887"/>
      </p:ext>
    </p:extLst>
  </p:cSld>
  <p:clrMapOvr>
    <a:masterClrMapping/>
  </p:clrMapOvr>
  <mc:AlternateContent xmlns:mc="http://schemas.openxmlformats.org/markup-compatibility/2006" xmlns:p14="http://schemas.microsoft.com/office/powerpoint/2010/main">
    <mc:Choice Requires="p14">
      <p:transition spd="med" p14:dur="700" advClick="0" advTm="1000">
        <p:fade/>
      </p:transition>
    </mc:Choice>
    <mc:Fallback xmlns="">
      <p:transition spd="med" advClick="0" advTm="1000">
        <p:fade/>
      </p:transition>
    </mc:Fallback>
  </mc:AlternateContent>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txBox="1">
            <a:spLocks/>
          </p:cNvSpPr>
          <p:nvPr/>
        </p:nvSpPr>
        <p:spPr>
          <a:xfrm>
            <a:off x="6382493" y="123468"/>
            <a:ext cx="5355838" cy="89966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ru-RU" b="1" dirty="0" smtClean="0"/>
          </a:p>
        </p:txBody>
      </p:sp>
      <p:sp>
        <p:nvSpPr>
          <p:cNvPr id="8" name="TextBox 7"/>
          <p:cNvSpPr txBox="1"/>
          <p:nvPr/>
        </p:nvSpPr>
        <p:spPr>
          <a:xfrm>
            <a:off x="5881802" y="0"/>
            <a:ext cx="5428089" cy="1323439"/>
          </a:xfrm>
          <a:prstGeom prst="rect">
            <a:avLst/>
          </a:prstGeom>
          <a:noFill/>
        </p:spPr>
        <p:txBody>
          <a:bodyPr wrap="none" rtlCol="0">
            <a:spAutoFit/>
          </a:bodyPr>
          <a:lstStyle/>
          <a:p>
            <a:r>
              <a:rPr lang="ru-RU" sz="4000" dirty="0" smtClean="0"/>
              <a:t>Спасибо за внимание.</a:t>
            </a:r>
          </a:p>
          <a:p>
            <a:r>
              <a:rPr lang="ru-RU" sz="4000" dirty="0" smtClean="0"/>
              <a:t>Ваши вопросы</a:t>
            </a:r>
            <a:r>
              <a:rPr lang="en-US" sz="4000" dirty="0" smtClean="0"/>
              <a:t> …</a:t>
            </a:r>
            <a:endParaRPr lang="ru-RU" sz="4000"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7991" y="1568555"/>
            <a:ext cx="9938157" cy="4787640"/>
          </a:xfrm>
          <a:prstGeom prst="rect">
            <a:avLst/>
          </a:prstGeom>
        </p:spPr>
      </p:pic>
    </p:spTree>
    <p:extLst>
      <p:ext uri="{BB962C8B-B14F-4D97-AF65-F5344CB8AC3E}">
        <p14:creationId xmlns:p14="http://schemas.microsoft.com/office/powerpoint/2010/main" val="3968650788"/>
      </p:ext>
    </p:extLst>
  </p:cSld>
  <p:clrMapOvr>
    <a:masterClrMapping/>
  </p:clrMapOvr>
  <p:transition>
    <p:fade/>
  </p:transition>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38376" y="1042987"/>
            <a:ext cx="7254875" cy="5441157"/>
          </a:xfrm>
          <a:prstGeom prst="rect">
            <a:avLst/>
          </a:prstGeom>
        </p:spPr>
      </p:pic>
    </p:spTree>
    <p:extLst>
      <p:ext uri="{BB962C8B-B14F-4D97-AF65-F5344CB8AC3E}">
        <p14:creationId xmlns:p14="http://schemas.microsoft.com/office/powerpoint/2010/main" val="1144269233"/>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ru-RU" sz="5400" dirty="0" smtClean="0"/>
              <a:t>Доля облачных приложений растёт</a:t>
            </a:r>
            <a:endParaRPr lang="en-US" sz="5400" dirty="0"/>
          </a:p>
        </p:txBody>
      </p:sp>
      <p:graphicFrame>
        <p:nvGraphicFramePr>
          <p:cNvPr id="4" name="Chart 3"/>
          <p:cNvGraphicFramePr>
            <a:graphicFrameLocks/>
          </p:cNvGraphicFramePr>
          <p:nvPr>
            <p:extLst/>
          </p:nvPr>
        </p:nvGraphicFramePr>
        <p:xfrm>
          <a:off x="642748" y="1226493"/>
          <a:ext cx="11282331" cy="549916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644705160"/>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Group 22"/>
          <p:cNvGrpSpPr/>
          <p:nvPr/>
        </p:nvGrpSpPr>
        <p:grpSpPr>
          <a:xfrm>
            <a:off x="69453" y="707084"/>
            <a:ext cx="3783977" cy="2708379"/>
            <a:chOff x="69453" y="707084"/>
            <a:chExt cx="3783977" cy="2708379"/>
          </a:xfrm>
        </p:grpSpPr>
        <p:sp>
          <p:nvSpPr>
            <p:cNvPr id="13" name="TextBox 12"/>
            <p:cNvSpPr txBox="1"/>
            <p:nvPr/>
          </p:nvSpPr>
          <p:spPr>
            <a:xfrm>
              <a:off x="339183" y="2707577"/>
              <a:ext cx="3514247" cy="707886"/>
            </a:xfrm>
            <a:prstGeom prst="rect">
              <a:avLst/>
            </a:prstGeom>
            <a:noFill/>
          </p:spPr>
          <p:txBody>
            <a:bodyPr wrap="square" rtlCol="0">
              <a:spAutoFit/>
            </a:bodyPr>
            <a:lstStyle/>
            <a:p>
              <a:pPr algn="ctr">
                <a:defRPr/>
              </a:pPr>
              <a:r>
                <a:rPr lang="ru-RU" sz="2000" dirty="0">
                  <a:solidFill>
                    <a:srgbClr val="FFFFFF"/>
                  </a:solidFill>
                  <a:latin typeface="Segoe UI Light"/>
                  <a:cs typeface="Segoe UI Light" panose="020B0502040204020203" pitchFamily="34" charset="0"/>
                </a:rPr>
                <a:t>из </a:t>
              </a:r>
              <a:r>
                <a:rPr lang="en-US" sz="2000" dirty="0">
                  <a:solidFill>
                    <a:srgbClr val="FFFFFF"/>
                  </a:solidFill>
                  <a:latin typeface="Segoe UI Light"/>
                  <a:cs typeface="Segoe UI Light" panose="020B0502040204020203" pitchFamily="34" charset="0"/>
                </a:rPr>
                <a:t>Fortune 500 </a:t>
              </a:r>
              <a:r>
                <a:rPr lang="ru-RU" sz="2000" dirty="0">
                  <a:solidFill>
                    <a:srgbClr val="FFFFFF"/>
                  </a:solidFill>
                  <a:latin typeface="Segoe UI Light"/>
                  <a:cs typeface="Segoe UI Light" panose="020B0502040204020203" pitchFamily="34" charset="0"/>
                </a:rPr>
                <a:t>используют</a:t>
              </a:r>
              <a:r>
                <a:rPr lang="en-US" sz="2000" dirty="0">
                  <a:solidFill>
                    <a:srgbClr val="FFFFFF"/>
                  </a:solidFill>
                  <a:latin typeface="Segoe UI Light"/>
                  <a:cs typeface="Segoe UI Light" panose="020B0502040204020203" pitchFamily="34" charset="0"/>
                </a:rPr>
                <a:t> Azure</a:t>
              </a:r>
              <a:endParaRPr lang="en-US" sz="2000" dirty="0">
                <a:solidFill>
                  <a:srgbClr val="FFFFFF"/>
                </a:solidFill>
                <a:latin typeface="Segoe UI Light"/>
              </a:endParaRPr>
            </a:p>
          </p:txBody>
        </p:sp>
        <p:sp>
          <p:nvSpPr>
            <p:cNvPr id="39" name="Rectangle 38"/>
            <p:cNvSpPr/>
            <p:nvPr/>
          </p:nvSpPr>
          <p:spPr>
            <a:xfrm>
              <a:off x="69453" y="707084"/>
              <a:ext cx="3679529" cy="2068338"/>
            </a:xfrm>
            <a:prstGeom prst="rect">
              <a:avLst/>
            </a:prstGeom>
          </p:spPr>
          <p:txBody>
            <a:bodyPr wrap="square" anchor="ctr">
              <a:spAutoFit/>
            </a:bodyPr>
            <a:lstStyle/>
            <a:p>
              <a:pPr algn="ctr">
                <a:lnSpc>
                  <a:spcPct val="95000"/>
                </a:lnSpc>
                <a:buSzPct val="90000"/>
                <a:defRPr/>
              </a:pPr>
              <a:r>
                <a:rPr lang="en-US" sz="13528" dirty="0">
                  <a:solidFill>
                    <a:srgbClr val="11C1FF"/>
                  </a:solidFill>
                  <a:latin typeface="Segoe UI Light" panose="020B0502040204020203" pitchFamily="34" charset="0"/>
                  <a:cs typeface="Segoe UI Light" panose="020B0502040204020203" pitchFamily="34" charset="0"/>
                </a:rPr>
                <a:t>&gt;</a:t>
              </a:r>
              <a:r>
                <a:rPr lang="en-US" sz="13528" dirty="0">
                  <a:solidFill>
                    <a:srgbClr val="FFFFFF"/>
                  </a:solidFill>
                  <a:latin typeface="Segoe UI Light" panose="020B0502040204020203" pitchFamily="34" charset="0"/>
                  <a:cs typeface="Segoe UI Light" panose="020B0502040204020203" pitchFamily="34" charset="0"/>
                </a:rPr>
                <a:t>57</a:t>
              </a:r>
              <a:r>
                <a:rPr lang="en-US" sz="5882" dirty="0">
                  <a:solidFill>
                    <a:srgbClr val="00B0F0"/>
                  </a:solidFill>
                  <a:latin typeface="Segoe UI Light" panose="020B0502040204020203" pitchFamily="34" charset="0"/>
                  <a:cs typeface="Segoe UI Light" panose="020B0502040204020203" pitchFamily="34" charset="0"/>
                </a:rPr>
                <a:t>%</a:t>
              </a:r>
              <a:endParaRPr lang="en-US" sz="13528" dirty="0">
                <a:solidFill>
                  <a:srgbClr val="00B0F0"/>
                </a:solidFill>
                <a:latin typeface="Segoe UI Light" panose="020B0502040204020203" pitchFamily="34" charset="0"/>
                <a:cs typeface="Segoe UI Light" panose="020B0502040204020203" pitchFamily="34" charset="0"/>
              </a:endParaRPr>
            </a:p>
          </p:txBody>
        </p:sp>
      </p:grpSp>
      <p:grpSp>
        <p:nvGrpSpPr>
          <p:cNvPr id="28" name="Group 27"/>
          <p:cNvGrpSpPr/>
          <p:nvPr/>
        </p:nvGrpSpPr>
        <p:grpSpPr>
          <a:xfrm>
            <a:off x="4275147" y="845521"/>
            <a:ext cx="4517112" cy="2309892"/>
            <a:chOff x="8249299" y="845521"/>
            <a:chExt cx="4517112" cy="2309892"/>
          </a:xfrm>
        </p:grpSpPr>
        <p:sp>
          <p:nvSpPr>
            <p:cNvPr id="51" name="Rectangle 50"/>
            <p:cNvSpPr/>
            <p:nvPr/>
          </p:nvSpPr>
          <p:spPr>
            <a:xfrm>
              <a:off x="8249299" y="845521"/>
              <a:ext cx="4517112" cy="1773562"/>
            </a:xfrm>
            <a:prstGeom prst="rect">
              <a:avLst/>
            </a:prstGeom>
          </p:spPr>
          <p:txBody>
            <a:bodyPr wrap="square" anchor="ctr">
              <a:spAutoFit/>
            </a:bodyPr>
            <a:lstStyle/>
            <a:p>
              <a:pPr>
                <a:lnSpc>
                  <a:spcPct val="95000"/>
                </a:lnSpc>
                <a:buSzPct val="90000"/>
                <a:defRPr/>
              </a:pPr>
              <a:r>
                <a:rPr lang="en-US" sz="11500" dirty="0" smtClean="0">
                  <a:solidFill>
                    <a:srgbClr val="00B0F0"/>
                  </a:solidFill>
                  <a:latin typeface="Segoe UI Light" panose="020B0502040204020203" pitchFamily="34" charset="0"/>
                  <a:cs typeface="Segoe UI Light" panose="020B0502040204020203" pitchFamily="34" charset="0"/>
                </a:rPr>
                <a:t>&gt;</a:t>
              </a:r>
              <a:r>
                <a:rPr lang="en-US" sz="9600" dirty="0" smtClean="0">
                  <a:solidFill>
                    <a:srgbClr val="FFFFFF"/>
                  </a:solidFill>
                  <a:latin typeface="Segoe UI Light" panose="020B0502040204020203" pitchFamily="34" charset="0"/>
                  <a:cs typeface="Segoe UI Light" panose="020B0502040204020203" pitchFamily="34" charset="0"/>
                </a:rPr>
                <a:t>375</a:t>
              </a:r>
              <a:r>
                <a:rPr lang="en-US" sz="8000" dirty="0" smtClean="0">
                  <a:solidFill>
                    <a:srgbClr val="FFFFFF"/>
                  </a:solidFill>
                  <a:latin typeface="Segoe UI Light" panose="020B0502040204020203" pitchFamily="34" charset="0"/>
                  <a:cs typeface="Segoe UI Light" panose="020B0502040204020203" pitchFamily="34" charset="0"/>
                </a:rPr>
                <a:t>k</a:t>
              </a:r>
              <a:endParaRPr lang="en-US" sz="9600" dirty="0">
                <a:solidFill>
                  <a:srgbClr val="FFFFFF"/>
                </a:solidFill>
                <a:latin typeface="Segoe UI Light" panose="020B0502040204020203" pitchFamily="34" charset="0"/>
                <a:cs typeface="Segoe UI Light" panose="020B0502040204020203" pitchFamily="34" charset="0"/>
              </a:endParaRPr>
            </a:p>
          </p:txBody>
        </p:sp>
        <p:sp>
          <p:nvSpPr>
            <p:cNvPr id="52" name="Rectangle 51"/>
            <p:cNvSpPr/>
            <p:nvPr/>
          </p:nvSpPr>
          <p:spPr>
            <a:xfrm>
              <a:off x="8957492" y="2770692"/>
              <a:ext cx="2458322" cy="384721"/>
            </a:xfrm>
            <a:prstGeom prst="rect">
              <a:avLst/>
            </a:prstGeom>
          </p:spPr>
          <p:txBody>
            <a:bodyPr wrap="square" anchor="ctr">
              <a:spAutoFit/>
            </a:bodyPr>
            <a:lstStyle/>
            <a:p>
              <a:pPr algn="ctr">
                <a:lnSpc>
                  <a:spcPct val="95000"/>
                </a:lnSpc>
                <a:buSzPct val="90000"/>
                <a:defRPr/>
              </a:pPr>
              <a:r>
                <a:rPr lang="ru-RU" sz="2000" dirty="0">
                  <a:solidFill>
                    <a:srgbClr val="FFFFFF"/>
                  </a:solidFill>
                  <a:latin typeface="Segoe UI Light"/>
                  <a:cs typeface="Segoe UI Light" panose="020B0502040204020203" pitchFamily="34" charset="0"/>
                </a:rPr>
                <a:t>Активных вебсайтов</a:t>
              </a:r>
              <a:endParaRPr lang="en-US" sz="3200" dirty="0">
                <a:solidFill>
                  <a:srgbClr val="FFFFFF"/>
                </a:solidFill>
                <a:latin typeface="Segoe UI Light"/>
                <a:cs typeface="Segoe UI Light" panose="020B0502040204020203" pitchFamily="34" charset="0"/>
              </a:endParaRPr>
            </a:p>
          </p:txBody>
        </p:sp>
      </p:grpSp>
      <p:cxnSp>
        <p:nvCxnSpPr>
          <p:cNvPr id="27" name="Straight Connector 26"/>
          <p:cNvCxnSpPr/>
          <p:nvPr/>
        </p:nvCxnSpPr>
        <p:spPr>
          <a:xfrm>
            <a:off x="4064288" y="487"/>
            <a:ext cx="0" cy="6857027"/>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097236" y="487"/>
            <a:ext cx="0" cy="6857027"/>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865" y="3443453"/>
            <a:ext cx="12190271" cy="0"/>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grpSp>
        <p:nvGrpSpPr>
          <p:cNvPr id="61" name="Group 60"/>
          <p:cNvGrpSpPr/>
          <p:nvPr/>
        </p:nvGrpSpPr>
        <p:grpSpPr>
          <a:xfrm>
            <a:off x="8294329" y="756425"/>
            <a:ext cx="3624997" cy="2387036"/>
            <a:chOff x="228133" y="2745825"/>
            <a:chExt cx="3624997" cy="2701148"/>
          </a:xfrm>
        </p:grpSpPr>
        <p:sp>
          <p:nvSpPr>
            <p:cNvPr id="20" name="Rectangle 19"/>
            <p:cNvSpPr/>
            <p:nvPr/>
          </p:nvSpPr>
          <p:spPr>
            <a:xfrm>
              <a:off x="228133" y="2745825"/>
              <a:ext cx="3624997" cy="1957317"/>
            </a:xfrm>
            <a:prstGeom prst="rect">
              <a:avLst/>
            </a:prstGeom>
          </p:spPr>
          <p:txBody>
            <a:bodyPr wrap="square" anchor="b">
              <a:spAutoFit/>
            </a:bodyPr>
            <a:lstStyle/>
            <a:p>
              <a:pPr algn="ctr">
                <a:lnSpc>
                  <a:spcPct val="95000"/>
                </a:lnSpc>
                <a:buSzPct val="90000"/>
                <a:defRPr/>
              </a:pPr>
              <a:r>
                <a:rPr lang="ru-RU" sz="4000" spc="-200" dirty="0">
                  <a:solidFill>
                    <a:srgbClr val="00B0F0"/>
                  </a:solidFill>
                  <a:latin typeface="Segoe UI Light" panose="020B0502040204020203" pitchFamily="34" charset="0"/>
                  <a:cs typeface="Segoe UI Light" panose="020B0502040204020203" pitchFamily="34" charset="0"/>
                </a:rPr>
                <a:t>Более </a:t>
              </a:r>
              <a:r>
                <a:rPr lang="en-US" sz="4000" spc="-200" dirty="0">
                  <a:solidFill>
                    <a:srgbClr val="00B0F0"/>
                  </a:solidFill>
                  <a:latin typeface="Segoe UI Light" panose="020B0502040204020203" pitchFamily="34" charset="0"/>
                  <a:cs typeface="Segoe UI Light" panose="020B0502040204020203" pitchFamily="34" charset="0"/>
                </a:rPr>
                <a:t> </a:t>
              </a:r>
              <a:r>
                <a:rPr lang="en-US" sz="7200" spc="-294" dirty="0">
                  <a:solidFill>
                    <a:srgbClr val="FFFFFF"/>
                  </a:solidFill>
                  <a:latin typeface="Segoe UI Light" panose="020B0502040204020203" pitchFamily="34" charset="0"/>
                  <a:cs typeface="Segoe UI Light" panose="020B0502040204020203" pitchFamily="34" charset="0"/>
                </a:rPr>
                <a:t>1,200,000</a:t>
              </a:r>
              <a:endParaRPr lang="en-US" sz="4800" spc="-294" dirty="0">
                <a:solidFill>
                  <a:srgbClr val="FFFFFF"/>
                </a:solidFill>
                <a:latin typeface="Segoe UI Light" panose="020B0502040204020203" pitchFamily="34" charset="0"/>
                <a:cs typeface="Segoe UI Light" panose="020B0502040204020203" pitchFamily="34" charset="0"/>
              </a:endParaRPr>
            </a:p>
          </p:txBody>
        </p:sp>
        <p:sp>
          <p:nvSpPr>
            <p:cNvPr id="30" name="TextBox 29"/>
            <p:cNvSpPr txBox="1"/>
            <p:nvPr/>
          </p:nvSpPr>
          <p:spPr>
            <a:xfrm>
              <a:off x="383396" y="4994211"/>
              <a:ext cx="3295372" cy="452762"/>
            </a:xfrm>
            <a:prstGeom prst="rect">
              <a:avLst/>
            </a:prstGeom>
            <a:noFill/>
          </p:spPr>
          <p:txBody>
            <a:bodyPr wrap="square" rtlCol="0">
              <a:spAutoFit/>
            </a:bodyPr>
            <a:lstStyle/>
            <a:p>
              <a:pPr algn="ctr">
                <a:defRPr/>
              </a:pPr>
              <a:r>
                <a:rPr lang="ru-RU" sz="2000" dirty="0">
                  <a:solidFill>
                    <a:srgbClr val="FFFFFF"/>
                  </a:solidFill>
                  <a:latin typeface="Segoe UI Light"/>
                </a:rPr>
                <a:t>Баз Данных </a:t>
              </a:r>
              <a:r>
                <a:rPr lang="en-US" sz="2000" dirty="0">
                  <a:solidFill>
                    <a:srgbClr val="FFFFFF"/>
                  </a:solidFill>
                  <a:latin typeface="Segoe UI Light"/>
                </a:rPr>
                <a:t>SQL </a:t>
              </a:r>
              <a:r>
                <a:rPr lang="ru-RU" sz="2000" dirty="0">
                  <a:solidFill>
                    <a:srgbClr val="FFFFFF"/>
                  </a:solidFill>
                  <a:latin typeface="Segoe UI Light"/>
                </a:rPr>
                <a:t>в</a:t>
              </a:r>
              <a:r>
                <a:rPr lang="en-US" sz="2000" dirty="0">
                  <a:solidFill>
                    <a:srgbClr val="FFFFFF"/>
                  </a:solidFill>
                  <a:latin typeface="Segoe UI Light"/>
                </a:rPr>
                <a:t> Azure</a:t>
              </a:r>
            </a:p>
          </p:txBody>
        </p:sp>
      </p:grpSp>
      <p:grpSp>
        <p:nvGrpSpPr>
          <p:cNvPr id="60" name="Group 59"/>
          <p:cNvGrpSpPr/>
          <p:nvPr/>
        </p:nvGrpSpPr>
        <p:grpSpPr>
          <a:xfrm>
            <a:off x="-384023" y="3569264"/>
            <a:ext cx="4540619" cy="1378839"/>
            <a:chOff x="3712443" y="3569264"/>
            <a:chExt cx="4372049" cy="1378839"/>
          </a:xfrm>
        </p:grpSpPr>
        <p:sp>
          <p:nvSpPr>
            <p:cNvPr id="34" name="Rectangle 33"/>
            <p:cNvSpPr/>
            <p:nvPr/>
          </p:nvSpPr>
          <p:spPr>
            <a:xfrm>
              <a:off x="3712443" y="3569264"/>
              <a:ext cx="2330522" cy="1378839"/>
            </a:xfrm>
            <a:prstGeom prst="rect">
              <a:avLst/>
            </a:prstGeom>
          </p:spPr>
          <p:txBody>
            <a:bodyPr wrap="square" anchor="b">
              <a:spAutoFit/>
            </a:bodyPr>
            <a:lstStyle/>
            <a:p>
              <a:pPr algn="ctr">
                <a:lnSpc>
                  <a:spcPct val="95000"/>
                </a:lnSpc>
                <a:buSzPct val="90000"/>
                <a:defRPr/>
              </a:pPr>
              <a:r>
                <a:rPr lang="en-US" sz="8800" spc="-294" dirty="0">
                  <a:solidFill>
                    <a:srgbClr val="00B0F0"/>
                  </a:solidFill>
                  <a:latin typeface="Segoe UI Light" panose="020B0502040204020203" pitchFamily="34" charset="0"/>
                  <a:cs typeface="Segoe UI Light" panose="020B0502040204020203" pitchFamily="34" charset="0"/>
                </a:rPr>
                <a:t>&gt;</a:t>
              </a:r>
              <a:r>
                <a:rPr lang="en-US" sz="8800" spc="-294" dirty="0">
                  <a:solidFill>
                    <a:srgbClr val="FFFFFF"/>
                  </a:solidFill>
                  <a:latin typeface="Segoe UI Light" panose="020B0502040204020203" pitchFamily="34" charset="0"/>
                  <a:cs typeface="Segoe UI Light" panose="020B0502040204020203" pitchFamily="34" charset="0"/>
                </a:rPr>
                <a:t>40</a:t>
              </a:r>
              <a:endParaRPr lang="en-US" sz="8800" dirty="0">
                <a:solidFill>
                  <a:srgbClr val="11C1FF"/>
                </a:solidFill>
                <a:latin typeface="Segoe UI Light" panose="020B0502040204020203" pitchFamily="34" charset="0"/>
                <a:cs typeface="Segoe UI Light" panose="020B0502040204020203" pitchFamily="34" charset="0"/>
              </a:endParaRPr>
            </a:p>
          </p:txBody>
        </p:sp>
        <p:sp>
          <p:nvSpPr>
            <p:cNvPr id="47" name="Rectangle 46"/>
            <p:cNvSpPr/>
            <p:nvPr/>
          </p:nvSpPr>
          <p:spPr>
            <a:xfrm>
              <a:off x="5909855" y="3912760"/>
              <a:ext cx="2174637" cy="735586"/>
            </a:xfrm>
            <a:prstGeom prst="rect">
              <a:avLst/>
            </a:prstGeom>
          </p:spPr>
          <p:txBody>
            <a:bodyPr wrap="square">
              <a:spAutoFit/>
            </a:bodyPr>
            <a:lstStyle/>
            <a:p>
              <a:pPr>
                <a:lnSpc>
                  <a:spcPct val="95000"/>
                </a:lnSpc>
                <a:buSzPct val="90000"/>
                <a:defRPr/>
              </a:pPr>
              <a:r>
                <a:rPr lang="ru-RU" sz="2400" dirty="0">
                  <a:solidFill>
                    <a:srgbClr val="11C1FF"/>
                  </a:solidFill>
                  <a:latin typeface="Segoe UI Light" panose="020B0502040204020203" pitchFamily="34" charset="0"/>
                  <a:cs typeface="Segoe UI Light" panose="020B0502040204020203" pitchFamily="34" charset="0"/>
                </a:rPr>
                <a:t>ТРИЛЛИОНОВ</a:t>
              </a:r>
              <a:r>
                <a:rPr lang="en-US" sz="2800" dirty="0">
                  <a:solidFill>
                    <a:srgbClr val="11C1FF"/>
                  </a:solidFill>
                  <a:latin typeface="Segoe UI Light" panose="020B0502040204020203" pitchFamily="34" charset="0"/>
                  <a:cs typeface="Segoe UI Light" panose="020B0502040204020203" pitchFamily="34" charset="0"/>
                </a:rPr>
                <a:t/>
              </a:r>
              <a:br>
                <a:rPr lang="en-US" sz="2800" dirty="0">
                  <a:solidFill>
                    <a:srgbClr val="11C1FF"/>
                  </a:solidFill>
                  <a:latin typeface="Segoe UI Light" panose="020B0502040204020203" pitchFamily="34" charset="0"/>
                  <a:cs typeface="Segoe UI Light" panose="020B0502040204020203" pitchFamily="34" charset="0"/>
                </a:rPr>
              </a:br>
              <a:r>
                <a:rPr lang="ru-RU" sz="2000" dirty="0">
                  <a:solidFill>
                    <a:srgbClr val="FFFFFF"/>
                  </a:solidFill>
                  <a:latin typeface="Segoe UI Light" panose="020B0502040204020203" pitchFamily="34" charset="0"/>
                  <a:cs typeface="Segoe UI Light" panose="020B0502040204020203" pitchFamily="34" charset="0"/>
                </a:rPr>
                <a:t>объектов</a:t>
              </a:r>
              <a:endParaRPr lang="en-US" sz="8800" dirty="0">
                <a:solidFill>
                  <a:srgbClr val="FFFFFF"/>
                </a:solidFill>
                <a:latin typeface="Segoe UI Light" panose="020B0502040204020203" pitchFamily="34" charset="0"/>
                <a:cs typeface="Segoe UI Light" panose="020B0502040204020203" pitchFamily="34" charset="0"/>
              </a:endParaRPr>
            </a:p>
          </p:txBody>
        </p:sp>
      </p:grpSp>
      <p:grpSp>
        <p:nvGrpSpPr>
          <p:cNvPr id="62" name="Group 61"/>
          <p:cNvGrpSpPr/>
          <p:nvPr/>
        </p:nvGrpSpPr>
        <p:grpSpPr>
          <a:xfrm>
            <a:off x="3919268" y="3639383"/>
            <a:ext cx="4305345" cy="1499732"/>
            <a:chOff x="8010669" y="3639383"/>
            <a:chExt cx="4305345" cy="1499732"/>
          </a:xfrm>
        </p:grpSpPr>
        <p:grpSp>
          <p:nvGrpSpPr>
            <p:cNvPr id="58" name="Group 57"/>
            <p:cNvGrpSpPr/>
            <p:nvPr/>
          </p:nvGrpSpPr>
          <p:grpSpPr>
            <a:xfrm>
              <a:off x="8010669" y="3639383"/>
              <a:ext cx="4305345" cy="1499732"/>
              <a:chOff x="8010669" y="3639383"/>
              <a:chExt cx="4305345" cy="1499732"/>
            </a:xfrm>
          </p:grpSpPr>
          <p:cxnSp>
            <p:nvCxnSpPr>
              <p:cNvPr id="44" name="Straight Connector 43"/>
              <p:cNvCxnSpPr/>
              <p:nvPr/>
            </p:nvCxnSpPr>
            <p:spPr>
              <a:xfrm>
                <a:off x="8097236" y="5139115"/>
                <a:ext cx="4094764"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sp>
            <p:nvSpPr>
              <p:cNvPr id="49" name="Rectangle 48"/>
              <p:cNvSpPr/>
              <p:nvPr/>
            </p:nvSpPr>
            <p:spPr>
              <a:xfrm>
                <a:off x="8010669" y="3773330"/>
                <a:ext cx="2331723" cy="1203406"/>
              </a:xfrm>
              <a:prstGeom prst="rect">
                <a:avLst/>
              </a:prstGeom>
            </p:spPr>
            <p:txBody>
              <a:bodyPr wrap="square" anchor="ctr">
                <a:spAutoFit/>
              </a:bodyPr>
              <a:lstStyle/>
              <a:p>
                <a:pPr>
                  <a:lnSpc>
                    <a:spcPct val="95000"/>
                  </a:lnSpc>
                  <a:buSzPct val="90000"/>
                  <a:defRPr/>
                </a:pPr>
                <a:r>
                  <a:rPr lang="en-US" sz="7600" dirty="0">
                    <a:solidFill>
                      <a:srgbClr val="00B0F0"/>
                    </a:solidFill>
                    <a:latin typeface="Segoe UI Light" panose="020B0502040204020203" pitchFamily="34" charset="0"/>
                    <a:cs typeface="Segoe UI Light" panose="020B0502040204020203" pitchFamily="34" charset="0"/>
                  </a:rPr>
                  <a:t>&gt;</a:t>
                </a:r>
                <a:r>
                  <a:rPr lang="en-US" sz="7600" dirty="0">
                    <a:solidFill>
                      <a:srgbClr val="FFFFFF"/>
                    </a:solidFill>
                    <a:latin typeface="Segoe UI Light" panose="020B0502040204020203" pitchFamily="34" charset="0"/>
                    <a:cs typeface="Segoe UI Light" panose="020B0502040204020203" pitchFamily="34" charset="0"/>
                  </a:rPr>
                  <a:t>350</a:t>
                </a:r>
                <a:endParaRPr lang="en-US" sz="7600" dirty="0">
                  <a:solidFill>
                    <a:srgbClr val="00B0F0"/>
                  </a:solidFill>
                  <a:latin typeface="Segoe UI Light" panose="020B0502040204020203" pitchFamily="34" charset="0"/>
                  <a:cs typeface="Segoe UI Light" panose="020B0502040204020203" pitchFamily="34" charset="0"/>
                </a:endParaRPr>
              </a:p>
            </p:txBody>
          </p:sp>
          <p:sp>
            <p:nvSpPr>
              <p:cNvPr id="50" name="Rectangle 49"/>
              <p:cNvSpPr/>
              <p:nvPr/>
            </p:nvSpPr>
            <p:spPr>
              <a:xfrm>
                <a:off x="10139529" y="3639383"/>
                <a:ext cx="2176485" cy="443198"/>
              </a:xfrm>
              <a:prstGeom prst="rect">
                <a:avLst/>
              </a:prstGeom>
            </p:spPr>
            <p:txBody>
              <a:bodyPr wrap="square" anchor="ctr">
                <a:spAutoFit/>
              </a:bodyPr>
              <a:lstStyle/>
              <a:p>
                <a:pPr>
                  <a:lnSpc>
                    <a:spcPct val="95000"/>
                  </a:lnSpc>
                  <a:buSzPct val="90000"/>
                  <a:defRPr/>
                </a:pPr>
                <a:r>
                  <a:rPr lang="ru-RU" sz="2400" dirty="0">
                    <a:solidFill>
                      <a:srgbClr val="11C1FF"/>
                    </a:solidFill>
                    <a:latin typeface="Segoe UI Light"/>
                    <a:cs typeface="Segoe UI Light" panose="020B0502040204020203" pitchFamily="34" charset="0"/>
                  </a:rPr>
                  <a:t>МИЛЛИОНОВ</a:t>
                </a:r>
                <a:endParaRPr lang="en-US" sz="2400" dirty="0">
                  <a:solidFill>
                    <a:srgbClr val="11C1FF"/>
                  </a:solidFill>
                  <a:latin typeface="Segoe UI Light"/>
                  <a:cs typeface="Segoe UI Light" panose="020B0502040204020203" pitchFamily="34" charset="0"/>
                </a:endParaRPr>
              </a:p>
            </p:txBody>
          </p:sp>
        </p:grpSp>
        <p:sp>
          <p:nvSpPr>
            <p:cNvPr id="53" name="TextBox 52"/>
            <p:cNvSpPr txBox="1"/>
            <p:nvPr/>
          </p:nvSpPr>
          <p:spPr>
            <a:xfrm>
              <a:off x="10269107" y="4159880"/>
              <a:ext cx="1944232" cy="707886"/>
            </a:xfrm>
            <a:prstGeom prst="rect">
              <a:avLst/>
            </a:prstGeom>
            <a:noFill/>
          </p:spPr>
          <p:txBody>
            <a:bodyPr wrap="square" rtlCol="0">
              <a:spAutoFit/>
            </a:bodyPr>
            <a:lstStyle/>
            <a:p>
              <a:pPr>
                <a:defRPr/>
              </a:pPr>
              <a:r>
                <a:rPr lang="ru-RU" sz="2000" dirty="0">
                  <a:solidFill>
                    <a:srgbClr val="FFFFFF"/>
                  </a:solidFill>
                </a:rPr>
                <a:t>пользователей</a:t>
              </a:r>
              <a:endParaRPr lang="en-US" sz="2000" dirty="0">
                <a:solidFill>
                  <a:srgbClr val="FFFFFF"/>
                </a:solidFill>
              </a:endParaRPr>
            </a:p>
            <a:p>
              <a:pPr>
                <a:defRPr/>
              </a:pPr>
              <a:r>
                <a:rPr lang="en-US" sz="2000" dirty="0">
                  <a:solidFill>
                    <a:srgbClr val="FFFFFF"/>
                  </a:solidFill>
                  <a:latin typeface="Segoe UI Light"/>
                </a:rPr>
                <a:t>AD</a:t>
              </a:r>
            </a:p>
          </p:txBody>
        </p:sp>
      </p:grpSp>
      <p:grpSp>
        <p:nvGrpSpPr>
          <p:cNvPr id="19" name="Group 18"/>
          <p:cNvGrpSpPr/>
          <p:nvPr/>
        </p:nvGrpSpPr>
        <p:grpSpPr>
          <a:xfrm>
            <a:off x="4016231" y="5311432"/>
            <a:ext cx="4084368" cy="1261884"/>
            <a:chOff x="8107632" y="5311432"/>
            <a:chExt cx="4084368" cy="1261884"/>
          </a:xfrm>
        </p:grpSpPr>
        <p:sp>
          <p:nvSpPr>
            <p:cNvPr id="54" name="Rectangle 53"/>
            <p:cNvSpPr/>
            <p:nvPr/>
          </p:nvSpPr>
          <p:spPr>
            <a:xfrm>
              <a:off x="8107632" y="5311432"/>
              <a:ext cx="2161476" cy="1261884"/>
            </a:xfrm>
            <a:prstGeom prst="rect">
              <a:avLst/>
            </a:prstGeom>
          </p:spPr>
          <p:txBody>
            <a:bodyPr wrap="square" anchor="ctr">
              <a:spAutoFit/>
            </a:bodyPr>
            <a:lstStyle/>
            <a:p>
              <a:pPr>
                <a:lnSpc>
                  <a:spcPct val="95000"/>
                </a:lnSpc>
                <a:buSzPct val="90000"/>
                <a:defRPr/>
              </a:pPr>
              <a:r>
                <a:rPr lang="en-US" sz="8000" dirty="0">
                  <a:solidFill>
                    <a:srgbClr val="00B0F0"/>
                  </a:solidFill>
                  <a:latin typeface="Segoe UI Light" panose="020B0502040204020203" pitchFamily="34" charset="0"/>
                  <a:cs typeface="Segoe UI Light" panose="020B0502040204020203" pitchFamily="34" charset="0"/>
                </a:rPr>
                <a:t>&gt;</a:t>
              </a:r>
              <a:r>
                <a:rPr lang="en-US" sz="8000" dirty="0">
                  <a:solidFill>
                    <a:srgbClr val="FFFFFF"/>
                  </a:solidFill>
                  <a:latin typeface="Segoe UI Light" panose="020B0502040204020203" pitchFamily="34" charset="0"/>
                  <a:cs typeface="Segoe UI Light" panose="020B0502040204020203" pitchFamily="34" charset="0"/>
                </a:rPr>
                <a:t>18</a:t>
              </a:r>
              <a:endParaRPr lang="en-US" sz="8000" dirty="0">
                <a:solidFill>
                  <a:srgbClr val="00B0F0"/>
                </a:solidFill>
                <a:latin typeface="Segoe UI Light" panose="020B0502040204020203" pitchFamily="34" charset="0"/>
                <a:cs typeface="Segoe UI Light" panose="020B0502040204020203" pitchFamily="34" charset="0"/>
              </a:endParaRPr>
            </a:p>
          </p:txBody>
        </p:sp>
        <p:sp>
          <p:nvSpPr>
            <p:cNvPr id="55" name="Rectangle 54"/>
            <p:cNvSpPr/>
            <p:nvPr/>
          </p:nvSpPr>
          <p:spPr>
            <a:xfrm>
              <a:off x="9800521" y="5545061"/>
              <a:ext cx="2391479" cy="472437"/>
            </a:xfrm>
            <a:prstGeom prst="rect">
              <a:avLst/>
            </a:prstGeom>
          </p:spPr>
          <p:txBody>
            <a:bodyPr wrap="square" anchor="ctr">
              <a:spAutoFit/>
            </a:bodyPr>
            <a:lstStyle/>
            <a:p>
              <a:pPr>
                <a:lnSpc>
                  <a:spcPct val="95000"/>
                </a:lnSpc>
                <a:buSzPct val="90000"/>
                <a:defRPr/>
              </a:pPr>
              <a:r>
                <a:rPr lang="ru-RU" sz="2600" dirty="0">
                  <a:solidFill>
                    <a:srgbClr val="11C1FF"/>
                  </a:solidFill>
                  <a:latin typeface="Segoe UI Light"/>
                  <a:cs typeface="Segoe UI Light" panose="020B0502040204020203" pitchFamily="34" charset="0"/>
                </a:rPr>
                <a:t>МИЛЛИАРДОВ</a:t>
              </a:r>
              <a:endParaRPr lang="en-US" sz="2600" dirty="0">
                <a:solidFill>
                  <a:srgbClr val="11C1FF"/>
                </a:solidFill>
                <a:latin typeface="Segoe UI Light"/>
                <a:cs typeface="Segoe UI Light" panose="020B0502040204020203" pitchFamily="34" charset="0"/>
              </a:endParaRPr>
            </a:p>
          </p:txBody>
        </p:sp>
        <p:sp>
          <p:nvSpPr>
            <p:cNvPr id="56" name="TextBox 55"/>
            <p:cNvSpPr txBox="1"/>
            <p:nvPr/>
          </p:nvSpPr>
          <p:spPr>
            <a:xfrm>
              <a:off x="9701657" y="5932986"/>
              <a:ext cx="2489479" cy="338554"/>
            </a:xfrm>
            <a:prstGeom prst="rect">
              <a:avLst/>
            </a:prstGeom>
            <a:noFill/>
          </p:spPr>
          <p:txBody>
            <a:bodyPr wrap="square" rtlCol="0">
              <a:spAutoFit/>
            </a:bodyPr>
            <a:lstStyle/>
            <a:p>
              <a:pPr>
                <a:defRPr/>
              </a:pPr>
              <a:r>
                <a:rPr lang="ru-RU" sz="1600" dirty="0">
                  <a:solidFill>
                    <a:srgbClr val="FFFFFF"/>
                  </a:solidFill>
                  <a:latin typeface="Segoe UI Light"/>
                </a:rPr>
                <a:t>аутентификаций</a:t>
              </a:r>
              <a:r>
                <a:rPr lang="en-US" sz="1600" dirty="0">
                  <a:solidFill>
                    <a:srgbClr val="FFFFFF"/>
                  </a:solidFill>
                  <a:latin typeface="Segoe UI Light"/>
                </a:rPr>
                <a:t>/</a:t>
              </a:r>
              <a:r>
                <a:rPr lang="ru-RU" sz="1600" dirty="0">
                  <a:solidFill>
                    <a:srgbClr val="FFFFFF"/>
                  </a:solidFill>
                  <a:latin typeface="Segoe UI Light"/>
                </a:rPr>
                <a:t>неделя</a:t>
              </a:r>
              <a:endParaRPr lang="en-US" sz="1600" dirty="0">
                <a:solidFill>
                  <a:srgbClr val="FFFFFF"/>
                </a:solidFill>
                <a:latin typeface="Segoe UI Light"/>
              </a:endParaRPr>
            </a:p>
          </p:txBody>
        </p:sp>
      </p:grpSp>
      <p:grpSp>
        <p:nvGrpSpPr>
          <p:cNvPr id="59" name="Group 58"/>
          <p:cNvGrpSpPr/>
          <p:nvPr/>
        </p:nvGrpSpPr>
        <p:grpSpPr>
          <a:xfrm>
            <a:off x="-27113" y="5117652"/>
            <a:ext cx="4145726" cy="1740348"/>
            <a:chOff x="4064288" y="5117652"/>
            <a:chExt cx="4145726" cy="1740348"/>
          </a:xfrm>
        </p:grpSpPr>
        <p:sp>
          <p:nvSpPr>
            <p:cNvPr id="45" name="Rectangle 44"/>
            <p:cNvSpPr/>
            <p:nvPr/>
          </p:nvSpPr>
          <p:spPr>
            <a:xfrm>
              <a:off x="4322397" y="5117652"/>
              <a:ext cx="2026882" cy="1740348"/>
            </a:xfrm>
            <a:prstGeom prst="rect">
              <a:avLst/>
            </a:prstGeom>
          </p:spPr>
          <p:txBody>
            <a:bodyPr wrap="square" anchor="b">
              <a:spAutoFit/>
            </a:bodyPr>
            <a:lstStyle/>
            <a:p>
              <a:pPr algn="ctr">
                <a:lnSpc>
                  <a:spcPct val="95000"/>
                </a:lnSpc>
                <a:buSzPct val="90000"/>
                <a:defRPr/>
              </a:pPr>
              <a:r>
                <a:rPr lang="en-US" sz="11273" spc="-294" dirty="0">
                  <a:solidFill>
                    <a:srgbClr val="00B0F0"/>
                  </a:solidFill>
                  <a:latin typeface="Segoe UI Light" panose="020B0502040204020203" pitchFamily="34" charset="0"/>
                  <a:cs typeface="Segoe UI Light" panose="020B0502040204020203" pitchFamily="34" charset="0"/>
                </a:rPr>
                <a:t>&gt;</a:t>
              </a:r>
              <a:r>
                <a:rPr lang="en-US" sz="11273" spc="-294" dirty="0">
                  <a:solidFill>
                    <a:srgbClr val="FFFFFF"/>
                  </a:solidFill>
                  <a:latin typeface="Segoe UI Light" panose="020B0502040204020203" pitchFamily="34" charset="0"/>
                  <a:cs typeface="Segoe UI Light" panose="020B0502040204020203" pitchFamily="34" charset="0"/>
                </a:rPr>
                <a:t>2</a:t>
              </a:r>
              <a:endParaRPr lang="en-US" sz="9411" dirty="0">
                <a:solidFill>
                  <a:srgbClr val="11C1FF"/>
                </a:solidFill>
                <a:latin typeface="Segoe UI Light" panose="020B0502040204020203" pitchFamily="34" charset="0"/>
                <a:cs typeface="Segoe UI Light" panose="020B0502040204020203" pitchFamily="34" charset="0"/>
              </a:endParaRPr>
            </a:p>
          </p:txBody>
        </p:sp>
        <p:sp>
          <p:nvSpPr>
            <p:cNvPr id="7" name="Rectangle 6"/>
            <p:cNvSpPr/>
            <p:nvPr/>
          </p:nvSpPr>
          <p:spPr>
            <a:xfrm>
              <a:off x="6092127" y="5331908"/>
              <a:ext cx="2117887" cy="735586"/>
            </a:xfrm>
            <a:prstGeom prst="rect">
              <a:avLst/>
            </a:prstGeom>
          </p:spPr>
          <p:txBody>
            <a:bodyPr wrap="none">
              <a:spAutoFit/>
            </a:bodyPr>
            <a:lstStyle/>
            <a:p>
              <a:pPr>
                <a:lnSpc>
                  <a:spcPct val="95000"/>
                </a:lnSpc>
                <a:buSzPct val="90000"/>
                <a:defRPr/>
              </a:pPr>
              <a:r>
                <a:rPr lang="ru-RU" sz="2400" dirty="0">
                  <a:solidFill>
                    <a:srgbClr val="11C1FF"/>
                  </a:solidFill>
                  <a:latin typeface="Segoe UI Light" panose="020B0502040204020203" pitchFamily="34" charset="0"/>
                  <a:cs typeface="Segoe UI Light" panose="020B0502040204020203" pitchFamily="34" charset="0"/>
                </a:rPr>
                <a:t>МИЛЛИОНОВ</a:t>
              </a:r>
              <a:r>
                <a:rPr lang="en-US" sz="2800" dirty="0">
                  <a:solidFill>
                    <a:srgbClr val="11C1FF"/>
                  </a:solidFill>
                  <a:latin typeface="Segoe UI Light" panose="020B0502040204020203" pitchFamily="34" charset="0"/>
                  <a:cs typeface="Segoe UI Light" panose="020B0502040204020203" pitchFamily="34" charset="0"/>
                </a:rPr>
                <a:t/>
              </a:r>
              <a:br>
                <a:rPr lang="en-US" sz="2800" dirty="0">
                  <a:solidFill>
                    <a:srgbClr val="11C1FF"/>
                  </a:solidFill>
                  <a:latin typeface="Segoe UI Light" panose="020B0502040204020203" pitchFamily="34" charset="0"/>
                  <a:cs typeface="Segoe UI Light" panose="020B0502040204020203" pitchFamily="34" charset="0"/>
                </a:rPr>
              </a:br>
              <a:r>
                <a:rPr lang="ru-RU" sz="2000" dirty="0">
                  <a:solidFill>
                    <a:srgbClr val="FFFFFF"/>
                  </a:solidFill>
                  <a:latin typeface="Segoe UI Light" panose="020B0502040204020203" pitchFamily="34" charset="0"/>
                  <a:cs typeface="Segoe UI Light" panose="020B0502040204020203" pitchFamily="34" charset="0"/>
                </a:rPr>
                <a:t>запросов</a:t>
              </a:r>
              <a:r>
                <a:rPr lang="en-US" sz="2000" dirty="0">
                  <a:solidFill>
                    <a:srgbClr val="FFFFFF"/>
                  </a:solidFill>
                  <a:latin typeface="Segoe UI Light" panose="020B0502040204020203" pitchFamily="34" charset="0"/>
                  <a:cs typeface="Segoe UI Light" panose="020B0502040204020203" pitchFamily="34" charset="0"/>
                </a:rPr>
                <a:t>/</a:t>
              </a:r>
              <a:r>
                <a:rPr lang="ru-RU" sz="2000" dirty="0">
                  <a:solidFill>
                    <a:srgbClr val="FFFFFF"/>
                  </a:solidFill>
                  <a:latin typeface="Segoe UI Light" panose="020B0502040204020203" pitchFamily="34" charset="0"/>
                  <a:cs typeface="Segoe UI Light" panose="020B0502040204020203" pitchFamily="34" charset="0"/>
                </a:rPr>
                <a:t>сек</a:t>
              </a:r>
              <a:endParaRPr lang="en-US" sz="7200" dirty="0">
                <a:solidFill>
                  <a:srgbClr val="FFFFFF"/>
                </a:solidFill>
                <a:latin typeface="Segoe UI Light" panose="020B0502040204020203" pitchFamily="34" charset="0"/>
                <a:cs typeface="Segoe UI Light" panose="020B0502040204020203" pitchFamily="34" charset="0"/>
              </a:endParaRPr>
            </a:p>
          </p:txBody>
        </p:sp>
        <p:cxnSp>
          <p:nvCxnSpPr>
            <p:cNvPr id="57" name="Straight Connector 56"/>
            <p:cNvCxnSpPr/>
            <p:nvPr/>
          </p:nvCxnSpPr>
          <p:spPr>
            <a:xfrm>
              <a:off x="4064288" y="5139115"/>
              <a:ext cx="4070062"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grpSp>
      <p:grpSp>
        <p:nvGrpSpPr>
          <p:cNvPr id="2" name="Group 1"/>
          <p:cNvGrpSpPr/>
          <p:nvPr/>
        </p:nvGrpSpPr>
        <p:grpSpPr>
          <a:xfrm>
            <a:off x="8055010" y="4044227"/>
            <a:ext cx="4071282" cy="2460674"/>
            <a:chOff x="8055010" y="4044227"/>
            <a:chExt cx="4071282" cy="2460674"/>
          </a:xfrm>
        </p:grpSpPr>
        <p:grpSp>
          <p:nvGrpSpPr>
            <p:cNvPr id="38" name="Group 37"/>
            <p:cNvGrpSpPr/>
            <p:nvPr/>
          </p:nvGrpSpPr>
          <p:grpSpPr>
            <a:xfrm>
              <a:off x="8055010" y="4044227"/>
              <a:ext cx="3905263" cy="2460674"/>
              <a:chOff x="4262386" y="4482555"/>
              <a:chExt cx="3905263" cy="2460674"/>
            </a:xfrm>
          </p:grpSpPr>
          <p:sp>
            <p:nvSpPr>
              <p:cNvPr id="40" name="Rectangle 39"/>
              <p:cNvSpPr/>
              <p:nvPr/>
            </p:nvSpPr>
            <p:spPr>
              <a:xfrm>
                <a:off x="4262386" y="4482555"/>
                <a:ext cx="2238203" cy="2460674"/>
              </a:xfrm>
              <a:prstGeom prst="rect">
                <a:avLst/>
              </a:prstGeom>
            </p:spPr>
            <p:txBody>
              <a:bodyPr wrap="square" anchor="b">
                <a:spAutoFit/>
              </a:bodyPr>
              <a:lstStyle/>
              <a:p>
                <a:pPr>
                  <a:lnSpc>
                    <a:spcPct val="95000"/>
                  </a:lnSpc>
                  <a:buSzPct val="90000"/>
                  <a:defRPr/>
                </a:pPr>
                <a:r>
                  <a:rPr lang="en-US" sz="13500" spc="-3500" dirty="0">
                    <a:solidFill>
                      <a:srgbClr val="00B0F0"/>
                    </a:solidFill>
                    <a:latin typeface="Segoe UI Light" panose="020B0502040204020203" pitchFamily="34" charset="0"/>
                    <a:cs typeface="Segoe UI Light" panose="020B0502040204020203" pitchFamily="34" charset="0"/>
                  </a:rPr>
                  <a:t>&gt;</a:t>
                </a:r>
                <a:r>
                  <a:rPr lang="en-US" sz="16200" spc="-3500" dirty="0">
                    <a:solidFill>
                      <a:srgbClr val="FFFFFF"/>
                    </a:solidFill>
                    <a:latin typeface="Segoe UI Light" panose="020B0502040204020203" pitchFamily="34" charset="0"/>
                    <a:cs typeface="Segoe UI Light" panose="020B0502040204020203" pitchFamily="34" charset="0"/>
                  </a:rPr>
                  <a:t>2</a:t>
                </a:r>
                <a:endParaRPr lang="en-US" sz="23900" spc="-3500" dirty="0">
                  <a:solidFill>
                    <a:srgbClr val="11C1FF"/>
                  </a:solidFill>
                  <a:latin typeface="Segoe UI Light" panose="020B0502040204020203" pitchFamily="34" charset="0"/>
                  <a:cs typeface="Segoe UI Light" panose="020B0502040204020203" pitchFamily="34" charset="0"/>
                </a:endParaRPr>
              </a:p>
            </p:txBody>
          </p:sp>
          <p:sp>
            <p:nvSpPr>
              <p:cNvPr id="41" name="Rectangle 40"/>
              <p:cNvSpPr/>
              <p:nvPr/>
            </p:nvSpPr>
            <p:spPr>
              <a:xfrm>
                <a:off x="5964802" y="4761429"/>
                <a:ext cx="2202847" cy="1554272"/>
              </a:xfrm>
              <a:prstGeom prst="rect">
                <a:avLst/>
              </a:prstGeom>
            </p:spPr>
            <p:txBody>
              <a:bodyPr wrap="none">
                <a:spAutoFit/>
              </a:bodyPr>
              <a:lstStyle/>
              <a:p>
                <a:pPr>
                  <a:lnSpc>
                    <a:spcPct val="95000"/>
                  </a:lnSpc>
                  <a:buSzPct val="90000"/>
                  <a:defRPr/>
                </a:pPr>
                <a:r>
                  <a:rPr lang="ru-RU" sz="2800" dirty="0">
                    <a:solidFill>
                      <a:srgbClr val="11C1FF"/>
                    </a:solidFill>
                    <a:latin typeface="Segoe UI Light" panose="020B0502040204020203" pitchFamily="34" charset="0"/>
                    <a:cs typeface="Segoe UI Light" panose="020B0502040204020203" pitchFamily="34" charset="0"/>
                  </a:rPr>
                  <a:t>МИЛЛИОНА</a:t>
                </a:r>
                <a:endParaRPr lang="en-US" sz="2800" dirty="0">
                  <a:solidFill>
                    <a:srgbClr val="11C1FF"/>
                  </a:solidFill>
                  <a:latin typeface="Segoe UI Light" panose="020B0502040204020203" pitchFamily="34" charset="0"/>
                  <a:cs typeface="Segoe UI Light" panose="020B0502040204020203" pitchFamily="34" charset="0"/>
                </a:endParaRPr>
              </a:p>
              <a:p>
                <a:pPr>
                  <a:lnSpc>
                    <a:spcPct val="95000"/>
                  </a:lnSpc>
                  <a:buSzPct val="90000"/>
                  <a:defRPr/>
                </a:pPr>
                <a:endParaRPr lang="en-US" sz="7200" dirty="0">
                  <a:solidFill>
                    <a:srgbClr val="FFFFFF"/>
                  </a:solidFill>
                  <a:latin typeface="Segoe UI Light" panose="020B0502040204020203" pitchFamily="34" charset="0"/>
                  <a:cs typeface="Segoe UI Light" panose="020B0502040204020203" pitchFamily="34" charset="0"/>
                </a:endParaRPr>
              </a:p>
            </p:txBody>
          </p:sp>
        </p:grpSp>
        <p:sp>
          <p:nvSpPr>
            <p:cNvPr id="46" name="TextBox 45"/>
            <p:cNvSpPr txBox="1"/>
            <p:nvPr/>
          </p:nvSpPr>
          <p:spPr>
            <a:xfrm>
              <a:off x="9760788" y="4786389"/>
              <a:ext cx="2365504" cy="1107996"/>
            </a:xfrm>
            <a:prstGeom prst="rect">
              <a:avLst/>
            </a:prstGeom>
            <a:noFill/>
          </p:spPr>
          <p:txBody>
            <a:bodyPr wrap="square" rtlCol="0">
              <a:spAutoFit/>
            </a:bodyPr>
            <a:lstStyle/>
            <a:p>
              <a:pPr>
                <a:defRPr/>
              </a:pPr>
              <a:r>
                <a:rPr lang="ru-RU" sz="1600" dirty="0">
                  <a:solidFill>
                    <a:srgbClr val="FFFFFF"/>
                  </a:solidFill>
                  <a:latin typeface="Segoe UI Light"/>
                </a:rPr>
                <a:t>Разработчиков, зарегистрировавшихся в </a:t>
              </a:r>
              <a:r>
                <a:rPr lang="en-US" sz="1600" dirty="0">
                  <a:solidFill>
                    <a:srgbClr val="FFFFFF"/>
                  </a:solidFill>
                  <a:latin typeface="Segoe UI Light"/>
                </a:rPr>
                <a:t>Visual Studio Online</a:t>
              </a:r>
            </a:p>
            <a:p>
              <a:pPr>
                <a:defRPr/>
              </a:pPr>
              <a:r>
                <a:rPr lang="ru-RU" dirty="0">
                  <a:solidFill>
                    <a:srgbClr val="FFFFFF"/>
                  </a:solidFill>
                  <a:latin typeface="Segoe UI Light"/>
                </a:rPr>
                <a:t> </a:t>
              </a:r>
              <a:endParaRPr lang="en-US" dirty="0">
                <a:solidFill>
                  <a:srgbClr val="FFFFFF"/>
                </a:solidFill>
                <a:latin typeface="Segoe UI Light"/>
              </a:endParaRPr>
            </a:p>
          </p:txBody>
        </p:sp>
      </p:grpSp>
    </p:spTree>
    <p:extLst>
      <p:ext uri="{BB962C8B-B14F-4D97-AF65-F5344CB8AC3E}">
        <p14:creationId xmlns:p14="http://schemas.microsoft.com/office/powerpoint/2010/main" val="9973181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left)">
                                      <p:cBhvr>
                                        <p:cTn id="7" dur="500"/>
                                        <p:tgtEl>
                                          <p:spTgt spid="27"/>
                                        </p:tgtEl>
                                      </p:cBhvr>
                                    </p:animEffect>
                                  </p:childTnLst>
                                </p:cTn>
                              </p:par>
                              <p:par>
                                <p:cTn id="8" presetID="22" presetClass="entr" presetSubtype="8"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left)">
                                      <p:cBhvr>
                                        <p:cTn id="10" dur="500"/>
                                        <p:tgtEl>
                                          <p:spTgt spid="31"/>
                                        </p:tgtEl>
                                      </p:cBhvr>
                                    </p:animEffect>
                                  </p:childTnLst>
                                </p:cTn>
                              </p:par>
                              <p:par>
                                <p:cTn id="11" presetID="22" presetClass="entr" presetSubtype="8" fill="hold"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wipe(left)">
                                      <p:cBhvr>
                                        <p:cTn id="13" dur="500"/>
                                        <p:tgtEl>
                                          <p:spTgt spid="32"/>
                                        </p:tgtEl>
                                      </p:cBhvr>
                                    </p:animEffec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250"/>
                                        <p:tgtEl>
                                          <p:spTgt spid="23"/>
                                        </p:tgtEl>
                                      </p:cBhvr>
                                    </p:animEffect>
                                  </p:childTnLst>
                                </p:cTn>
                              </p:par>
                            </p:childTnLst>
                          </p:cTn>
                        </p:par>
                        <p:par>
                          <p:cTn id="18" fill="hold">
                            <p:stCondLst>
                              <p:cond delay="750"/>
                            </p:stCondLst>
                            <p:childTnLst>
                              <p:par>
                                <p:cTn id="19" presetID="10" presetClass="entr" presetSubtype="0" fill="hold" nodeType="afterEffect">
                                  <p:stCondLst>
                                    <p:cond delay="0"/>
                                  </p:stCondLst>
                                  <p:childTnLst>
                                    <p:set>
                                      <p:cBhvr>
                                        <p:cTn id="20" dur="1" fill="hold">
                                          <p:stCondLst>
                                            <p:cond delay="0"/>
                                          </p:stCondLst>
                                        </p:cTn>
                                        <p:tgtEl>
                                          <p:spTgt spid="28"/>
                                        </p:tgtEl>
                                        <p:attrNameLst>
                                          <p:attrName>style.visibility</p:attrName>
                                        </p:attrNameLst>
                                      </p:cBhvr>
                                      <p:to>
                                        <p:strVal val="visible"/>
                                      </p:to>
                                    </p:set>
                                    <p:animEffect transition="in" filter="fade">
                                      <p:cBhvr>
                                        <p:cTn id="21" dur="250"/>
                                        <p:tgtEl>
                                          <p:spTgt spid="28"/>
                                        </p:tgtEl>
                                      </p:cBhvr>
                                    </p:animEffect>
                                  </p:childTnLst>
                                </p:cTn>
                              </p:par>
                            </p:childTnLst>
                          </p:cTn>
                        </p:par>
                        <p:par>
                          <p:cTn id="22" fill="hold">
                            <p:stCondLst>
                              <p:cond delay="1000"/>
                            </p:stCondLst>
                            <p:childTnLst>
                              <p:par>
                                <p:cTn id="23" presetID="10" presetClass="entr" presetSubtype="0" fill="hold" nodeType="afterEffect">
                                  <p:stCondLst>
                                    <p:cond delay="0"/>
                                  </p:stCondLst>
                                  <p:childTnLst>
                                    <p:set>
                                      <p:cBhvr>
                                        <p:cTn id="24" dur="1" fill="hold">
                                          <p:stCondLst>
                                            <p:cond delay="0"/>
                                          </p:stCondLst>
                                        </p:cTn>
                                        <p:tgtEl>
                                          <p:spTgt spid="61"/>
                                        </p:tgtEl>
                                        <p:attrNameLst>
                                          <p:attrName>style.visibility</p:attrName>
                                        </p:attrNameLst>
                                      </p:cBhvr>
                                      <p:to>
                                        <p:strVal val="visible"/>
                                      </p:to>
                                    </p:set>
                                    <p:animEffect transition="in" filter="fade">
                                      <p:cBhvr>
                                        <p:cTn id="25" dur="250"/>
                                        <p:tgtEl>
                                          <p:spTgt spid="61"/>
                                        </p:tgtEl>
                                      </p:cBhvr>
                                    </p:animEffect>
                                  </p:childTnLst>
                                </p:cTn>
                              </p:par>
                            </p:childTnLst>
                          </p:cTn>
                        </p:par>
                        <p:par>
                          <p:cTn id="26" fill="hold">
                            <p:stCondLst>
                              <p:cond delay="1250"/>
                            </p:stCondLst>
                            <p:childTnLst>
                              <p:par>
                                <p:cTn id="27" presetID="10" presetClass="entr" presetSubtype="0" fill="hold" nodeType="afterEffect">
                                  <p:stCondLst>
                                    <p:cond delay="0"/>
                                  </p:stCondLst>
                                  <p:childTnLst>
                                    <p:set>
                                      <p:cBhvr>
                                        <p:cTn id="28" dur="1" fill="hold">
                                          <p:stCondLst>
                                            <p:cond delay="0"/>
                                          </p:stCondLst>
                                        </p:cTn>
                                        <p:tgtEl>
                                          <p:spTgt spid="19"/>
                                        </p:tgtEl>
                                        <p:attrNameLst>
                                          <p:attrName>style.visibility</p:attrName>
                                        </p:attrNameLst>
                                      </p:cBhvr>
                                      <p:to>
                                        <p:strVal val="visible"/>
                                      </p:to>
                                    </p:set>
                                    <p:animEffect transition="in" filter="fade">
                                      <p:cBhvr>
                                        <p:cTn id="29" dur="250"/>
                                        <p:tgtEl>
                                          <p:spTgt spid="19"/>
                                        </p:tgtEl>
                                      </p:cBhvr>
                                    </p:animEffect>
                                  </p:childTnLst>
                                </p:cTn>
                              </p:par>
                            </p:childTnLst>
                          </p:cTn>
                        </p:par>
                        <p:par>
                          <p:cTn id="30" fill="hold">
                            <p:stCondLst>
                              <p:cond delay="1500"/>
                            </p:stCondLst>
                            <p:childTnLst>
                              <p:par>
                                <p:cTn id="31" presetID="10" presetClass="entr" presetSubtype="0" fill="hold" nodeType="afterEffect">
                                  <p:stCondLst>
                                    <p:cond delay="0"/>
                                  </p:stCondLst>
                                  <p:childTnLst>
                                    <p:set>
                                      <p:cBhvr>
                                        <p:cTn id="32" dur="1" fill="hold">
                                          <p:stCondLst>
                                            <p:cond delay="0"/>
                                          </p:stCondLst>
                                        </p:cTn>
                                        <p:tgtEl>
                                          <p:spTgt spid="60"/>
                                        </p:tgtEl>
                                        <p:attrNameLst>
                                          <p:attrName>style.visibility</p:attrName>
                                        </p:attrNameLst>
                                      </p:cBhvr>
                                      <p:to>
                                        <p:strVal val="visible"/>
                                      </p:to>
                                    </p:set>
                                    <p:animEffect transition="in" filter="fade">
                                      <p:cBhvr>
                                        <p:cTn id="33" dur="250"/>
                                        <p:tgtEl>
                                          <p:spTgt spid="60"/>
                                        </p:tgtEl>
                                      </p:cBhvr>
                                    </p:animEffect>
                                  </p:childTnLst>
                                </p:cTn>
                              </p:par>
                            </p:childTnLst>
                          </p:cTn>
                        </p:par>
                        <p:par>
                          <p:cTn id="34" fill="hold">
                            <p:stCondLst>
                              <p:cond delay="1750"/>
                            </p:stCondLst>
                            <p:childTnLst>
                              <p:par>
                                <p:cTn id="35" presetID="10" presetClass="entr" presetSubtype="0" fill="hold" nodeType="afterEffect">
                                  <p:stCondLst>
                                    <p:cond delay="0"/>
                                  </p:stCondLst>
                                  <p:childTnLst>
                                    <p:set>
                                      <p:cBhvr>
                                        <p:cTn id="36" dur="1" fill="hold">
                                          <p:stCondLst>
                                            <p:cond delay="0"/>
                                          </p:stCondLst>
                                        </p:cTn>
                                        <p:tgtEl>
                                          <p:spTgt spid="59"/>
                                        </p:tgtEl>
                                        <p:attrNameLst>
                                          <p:attrName>style.visibility</p:attrName>
                                        </p:attrNameLst>
                                      </p:cBhvr>
                                      <p:to>
                                        <p:strVal val="visible"/>
                                      </p:to>
                                    </p:set>
                                    <p:animEffect transition="in" filter="fade">
                                      <p:cBhvr>
                                        <p:cTn id="37" dur="250"/>
                                        <p:tgtEl>
                                          <p:spTgt spid="59"/>
                                        </p:tgtEl>
                                      </p:cBhvr>
                                    </p:animEffect>
                                  </p:childTnLst>
                                </p:cTn>
                              </p:par>
                            </p:childTnLst>
                          </p:cTn>
                        </p:par>
                        <p:par>
                          <p:cTn id="38" fill="hold">
                            <p:stCondLst>
                              <p:cond delay="2000"/>
                            </p:stCondLst>
                            <p:childTnLst>
                              <p:par>
                                <p:cTn id="39" presetID="10" presetClass="entr" presetSubtype="0" fill="hold" nodeType="afterEffect">
                                  <p:stCondLst>
                                    <p:cond delay="0"/>
                                  </p:stCondLst>
                                  <p:childTnLst>
                                    <p:set>
                                      <p:cBhvr>
                                        <p:cTn id="40" dur="1" fill="hold">
                                          <p:stCondLst>
                                            <p:cond delay="0"/>
                                          </p:stCondLst>
                                        </p:cTn>
                                        <p:tgtEl>
                                          <p:spTgt spid="62"/>
                                        </p:tgtEl>
                                        <p:attrNameLst>
                                          <p:attrName>style.visibility</p:attrName>
                                        </p:attrNameLst>
                                      </p:cBhvr>
                                      <p:to>
                                        <p:strVal val="visible"/>
                                      </p:to>
                                    </p:set>
                                    <p:animEffect transition="in" filter="fade">
                                      <p:cBhvr>
                                        <p:cTn id="41" dur="250"/>
                                        <p:tgtEl>
                                          <p:spTgt spid="62"/>
                                        </p:tgtEl>
                                      </p:cBhvr>
                                    </p:animEffect>
                                  </p:childTnLst>
                                </p:cTn>
                              </p:par>
                              <p:par>
                                <p:cTn id="42" presetID="10" presetClass="entr" presetSubtype="0" fill="hold" nodeType="withEffect">
                                  <p:stCondLst>
                                    <p:cond delay="250"/>
                                  </p:stCondLst>
                                  <p:childTnLst>
                                    <p:set>
                                      <p:cBhvr>
                                        <p:cTn id="43" dur="1" fill="hold">
                                          <p:stCondLst>
                                            <p:cond delay="0"/>
                                          </p:stCondLst>
                                        </p:cTn>
                                        <p:tgtEl>
                                          <p:spTgt spid="2"/>
                                        </p:tgtEl>
                                        <p:attrNameLst>
                                          <p:attrName>style.visibility</p:attrName>
                                        </p:attrNameLst>
                                      </p:cBhvr>
                                      <p:to>
                                        <p:strVal val="visible"/>
                                      </p:to>
                                    </p:set>
                                    <p:animEffect transition="in" filter="fade">
                                      <p:cBhvr>
                                        <p:cTn id="44" dur="25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4249281" y="796587"/>
            <a:ext cx="4516471" cy="2384836"/>
            <a:chOff x="8249299" y="828753"/>
            <a:chExt cx="4517112" cy="2385174"/>
          </a:xfrm>
        </p:grpSpPr>
        <p:sp>
          <p:nvSpPr>
            <p:cNvPr id="9" name="Rectangle 8"/>
            <p:cNvSpPr/>
            <p:nvPr/>
          </p:nvSpPr>
          <p:spPr>
            <a:xfrm>
              <a:off x="8249299" y="828753"/>
              <a:ext cx="4517112" cy="1807098"/>
            </a:xfrm>
            <a:prstGeom prst="rect">
              <a:avLst/>
            </a:prstGeom>
          </p:spPr>
          <p:txBody>
            <a:bodyPr wrap="square" anchor="ctr">
              <a:spAutoFit/>
            </a:bodyPr>
            <a:lstStyle/>
            <a:p>
              <a:pPr>
                <a:lnSpc>
                  <a:spcPct val="95000"/>
                </a:lnSpc>
                <a:buSzPct val="90000"/>
              </a:pPr>
              <a:r>
                <a:rPr lang="en-US" sz="11498" dirty="0" smtClean="0">
                  <a:solidFill>
                    <a:srgbClr val="FFFFFF"/>
                  </a:solidFill>
                  <a:latin typeface="Segoe UI Light" panose="020B0502040204020203" pitchFamily="34" charset="0"/>
                  <a:cs typeface="Segoe UI Light" panose="020B0502040204020203" pitchFamily="34" charset="0"/>
                </a:rPr>
                <a:t>&gt;</a:t>
              </a:r>
              <a:r>
                <a:rPr lang="en-US" sz="9598" dirty="0" smtClean="0">
                  <a:solidFill>
                    <a:srgbClr val="FFFFFF"/>
                  </a:solidFill>
                  <a:latin typeface="Segoe UI Light" panose="020B0502040204020203" pitchFamily="34" charset="0"/>
                  <a:cs typeface="Segoe UI Light" panose="020B0502040204020203" pitchFamily="34" charset="0"/>
                </a:rPr>
                <a:t>375</a:t>
              </a:r>
              <a:r>
                <a:rPr lang="en-US" sz="7998" dirty="0" smtClean="0">
                  <a:solidFill>
                    <a:srgbClr val="FFFFFF"/>
                  </a:solidFill>
                  <a:latin typeface="Segoe UI Light" panose="020B0502040204020203" pitchFamily="34" charset="0"/>
                  <a:cs typeface="Segoe UI Light" panose="020B0502040204020203" pitchFamily="34" charset="0"/>
                </a:rPr>
                <a:t>k</a:t>
              </a:r>
              <a:endParaRPr lang="en-US" sz="9598" dirty="0">
                <a:solidFill>
                  <a:srgbClr val="FFFFFF"/>
                </a:solidFill>
                <a:latin typeface="Segoe UI Light" panose="020B0502040204020203" pitchFamily="34" charset="0"/>
                <a:cs typeface="Segoe UI Light" panose="020B0502040204020203" pitchFamily="34" charset="0"/>
              </a:endParaRPr>
            </a:p>
          </p:txBody>
        </p:sp>
        <p:sp>
          <p:nvSpPr>
            <p:cNvPr id="10" name="Rectangle 9"/>
            <p:cNvSpPr/>
            <p:nvPr/>
          </p:nvSpPr>
          <p:spPr>
            <a:xfrm>
              <a:off x="8400345" y="2712180"/>
              <a:ext cx="3506230" cy="501747"/>
            </a:xfrm>
            <a:prstGeom prst="rect">
              <a:avLst/>
            </a:prstGeom>
          </p:spPr>
          <p:txBody>
            <a:bodyPr wrap="square" anchor="ctr">
              <a:spAutoFit/>
            </a:bodyPr>
            <a:lstStyle/>
            <a:p>
              <a:pPr algn="ctr">
                <a:lnSpc>
                  <a:spcPct val="95000"/>
                </a:lnSpc>
                <a:buSzPct val="90000"/>
              </a:pPr>
              <a:r>
                <a:rPr lang="en-US" sz="2800" dirty="0">
                  <a:solidFill>
                    <a:srgbClr val="FFFFFF"/>
                  </a:solidFill>
                  <a:latin typeface="Segoe UI Light"/>
                  <a:cs typeface="Segoe UI Light" panose="020B0502040204020203" pitchFamily="34" charset="0"/>
                </a:rPr>
                <a:t>Websites Hosted</a:t>
              </a:r>
              <a:endParaRPr lang="en-US" sz="4000" dirty="0">
                <a:solidFill>
                  <a:srgbClr val="FFFFFF"/>
                </a:solidFill>
                <a:latin typeface="Segoe UI Light"/>
                <a:cs typeface="Segoe UI Light" panose="020B0502040204020203" pitchFamily="34" charset="0"/>
              </a:endParaRPr>
            </a:p>
          </p:txBody>
        </p:sp>
      </p:grpSp>
      <p:cxnSp>
        <p:nvCxnSpPr>
          <p:cNvPr id="11" name="Straight Connector 10"/>
          <p:cNvCxnSpPr/>
          <p:nvPr/>
        </p:nvCxnSpPr>
        <p:spPr>
          <a:xfrm>
            <a:off x="4064576" y="974"/>
            <a:ext cx="0" cy="6856055"/>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8096952" y="974"/>
            <a:ext cx="0" cy="6856055"/>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0" y="3593472"/>
            <a:ext cx="12190272" cy="0"/>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grpSp>
        <p:nvGrpSpPr>
          <p:cNvPr id="14" name="Group 13"/>
          <p:cNvGrpSpPr/>
          <p:nvPr/>
        </p:nvGrpSpPr>
        <p:grpSpPr>
          <a:xfrm>
            <a:off x="8313930" y="1252569"/>
            <a:ext cx="3670938" cy="1902981"/>
            <a:chOff x="248048" y="3306917"/>
            <a:chExt cx="3671458" cy="2153706"/>
          </a:xfrm>
        </p:grpSpPr>
        <p:sp>
          <p:nvSpPr>
            <p:cNvPr id="15" name="Rectangle 14"/>
            <p:cNvSpPr/>
            <p:nvPr/>
          </p:nvSpPr>
          <p:spPr>
            <a:xfrm>
              <a:off x="248048" y="3306917"/>
              <a:ext cx="3624997" cy="1428142"/>
            </a:xfrm>
            <a:prstGeom prst="rect">
              <a:avLst/>
            </a:prstGeom>
          </p:spPr>
          <p:txBody>
            <a:bodyPr wrap="square" anchor="b">
              <a:spAutoFit/>
            </a:bodyPr>
            <a:lstStyle/>
            <a:p>
              <a:pPr algn="ctr">
                <a:lnSpc>
                  <a:spcPct val="95000"/>
                </a:lnSpc>
                <a:buSzPct val="90000"/>
              </a:pPr>
              <a:r>
                <a:rPr lang="en-US" sz="8000" dirty="0" smtClean="0">
                  <a:solidFill>
                    <a:srgbClr val="FFFFFF"/>
                  </a:solidFill>
                  <a:latin typeface="Segoe UI Light" panose="020B0502040204020203" pitchFamily="34" charset="0"/>
                  <a:cs typeface="Segoe UI Light" panose="020B0502040204020203" pitchFamily="34" charset="0"/>
                </a:rPr>
                <a:t>&gt;</a:t>
              </a:r>
              <a:r>
                <a:rPr lang="en-US" sz="8000" dirty="0">
                  <a:solidFill>
                    <a:srgbClr val="FFFFFF"/>
                  </a:solidFill>
                  <a:latin typeface="Segoe UI Light" panose="020B0502040204020203" pitchFamily="34" charset="0"/>
                  <a:cs typeface="Segoe UI Light" panose="020B0502040204020203" pitchFamily="34" charset="0"/>
                </a:rPr>
                <a:t>2</a:t>
              </a:r>
              <a:r>
                <a:rPr lang="en-US" sz="6000" spc="-294" dirty="0" smtClean="0">
                  <a:solidFill>
                    <a:srgbClr val="FFFFFF"/>
                  </a:solidFill>
                  <a:latin typeface="Segoe UI Light" panose="020B0502040204020203" pitchFamily="34" charset="0"/>
                  <a:cs typeface="Segoe UI Light" panose="020B0502040204020203" pitchFamily="34" charset="0"/>
                </a:rPr>
                <a:t>Billion</a:t>
              </a:r>
            </a:p>
          </p:txBody>
        </p:sp>
        <p:sp>
          <p:nvSpPr>
            <p:cNvPr id="16" name="TextBox 15"/>
            <p:cNvSpPr txBox="1"/>
            <p:nvPr/>
          </p:nvSpPr>
          <p:spPr>
            <a:xfrm>
              <a:off x="262230" y="4868467"/>
              <a:ext cx="3657276" cy="592156"/>
            </a:xfrm>
            <a:prstGeom prst="rect">
              <a:avLst/>
            </a:prstGeom>
            <a:noFill/>
          </p:spPr>
          <p:txBody>
            <a:bodyPr wrap="square" rtlCol="0">
              <a:spAutoFit/>
            </a:bodyPr>
            <a:lstStyle/>
            <a:p>
              <a:pPr algn="ctr"/>
              <a:r>
                <a:rPr lang="ru-RU" sz="2800" dirty="0" smtClean="0">
                  <a:solidFill>
                    <a:srgbClr val="FFFFFF"/>
                  </a:solidFill>
                  <a:latin typeface="Segoe UI Light"/>
                </a:rPr>
                <a:t>Запросов в день</a:t>
              </a:r>
              <a:endParaRPr lang="en-US" sz="2800" dirty="0">
                <a:solidFill>
                  <a:srgbClr val="FFFFFF"/>
                </a:solidFill>
                <a:latin typeface="Segoe UI Light"/>
              </a:endParaRPr>
            </a:p>
          </p:txBody>
        </p:sp>
      </p:grpSp>
      <p:grpSp>
        <p:nvGrpSpPr>
          <p:cNvPr id="17" name="Group 16"/>
          <p:cNvGrpSpPr/>
          <p:nvPr/>
        </p:nvGrpSpPr>
        <p:grpSpPr>
          <a:xfrm>
            <a:off x="-81745" y="3695771"/>
            <a:ext cx="4295202" cy="1281387"/>
            <a:chOff x="4008779" y="3695808"/>
            <a:chExt cx="4295809" cy="1281568"/>
          </a:xfrm>
        </p:grpSpPr>
        <p:sp>
          <p:nvSpPr>
            <p:cNvPr id="18" name="Rectangle 17"/>
            <p:cNvSpPr/>
            <p:nvPr/>
          </p:nvSpPr>
          <p:spPr>
            <a:xfrm>
              <a:off x="4008779" y="3715633"/>
              <a:ext cx="3157414" cy="1261743"/>
            </a:xfrm>
            <a:prstGeom prst="rect">
              <a:avLst/>
            </a:prstGeom>
          </p:spPr>
          <p:txBody>
            <a:bodyPr wrap="square" anchor="b">
              <a:spAutoFit/>
            </a:bodyPr>
            <a:lstStyle/>
            <a:p>
              <a:pPr algn="ctr">
                <a:lnSpc>
                  <a:spcPct val="95000"/>
                </a:lnSpc>
                <a:buSzPct val="90000"/>
              </a:pPr>
              <a:r>
                <a:rPr lang="en-US" sz="7998" spc="-294" dirty="0" smtClean="0">
                  <a:solidFill>
                    <a:srgbClr val="FFFFFF"/>
                  </a:solidFill>
                  <a:latin typeface="Segoe UI Light" panose="020B0502040204020203" pitchFamily="34" charset="0"/>
                  <a:cs typeface="Segoe UI Light" panose="020B0502040204020203" pitchFamily="34" charset="0"/>
                </a:rPr>
                <a:t>&gt;200k</a:t>
              </a:r>
              <a:endParaRPr lang="en-US" sz="7198" dirty="0">
                <a:solidFill>
                  <a:srgbClr val="FFFFFF"/>
                </a:solidFill>
                <a:latin typeface="Segoe UI Light" panose="020B0502040204020203" pitchFamily="34" charset="0"/>
                <a:cs typeface="Segoe UI Light" panose="020B0502040204020203" pitchFamily="34" charset="0"/>
              </a:endParaRPr>
            </a:p>
          </p:txBody>
        </p:sp>
        <p:sp>
          <p:nvSpPr>
            <p:cNvPr id="19" name="Rectangle 18"/>
            <p:cNvSpPr/>
            <p:nvPr/>
          </p:nvSpPr>
          <p:spPr>
            <a:xfrm>
              <a:off x="6777950" y="3695808"/>
              <a:ext cx="1526638" cy="1232820"/>
            </a:xfrm>
            <a:prstGeom prst="rect">
              <a:avLst/>
            </a:prstGeom>
          </p:spPr>
          <p:txBody>
            <a:bodyPr wrap="square">
              <a:spAutoFit/>
            </a:bodyPr>
            <a:lstStyle/>
            <a:p>
              <a:pPr>
                <a:lnSpc>
                  <a:spcPct val="95000"/>
                </a:lnSpc>
                <a:buSzPct val="90000"/>
              </a:pPr>
              <a:r>
                <a:rPr lang="en-US" sz="2400" dirty="0">
                  <a:solidFill>
                    <a:srgbClr val="FFFFFF"/>
                  </a:solidFill>
                  <a:latin typeface="Segoe UI Light" panose="020B0502040204020203" pitchFamily="34" charset="0"/>
                  <a:cs typeface="Segoe UI Light" panose="020B0502040204020203" pitchFamily="34" charset="0"/>
                </a:rPr>
                <a:t/>
              </a:r>
              <a:br>
                <a:rPr lang="en-US" sz="2400" dirty="0">
                  <a:solidFill>
                    <a:srgbClr val="FFFFFF"/>
                  </a:solidFill>
                  <a:latin typeface="Segoe UI Light" panose="020B0502040204020203" pitchFamily="34" charset="0"/>
                  <a:cs typeface="Segoe UI Light" panose="020B0502040204020203" pitchFamily="34" charset="0"/>
                </a:rPr>
              </a:br>
              <a:r>
                <a:rPr lang="ru-RU" dirty="0" smtClean="0">
                  <a:solidFill>
                    <a:srgbClr val="FFFFFF"/>
                  </a:solidFill>
                  <a:latin typeface="Segoe UI Light" panose="020B0502040204020203" pitchFamily="34" charset="0"/>
                  <a:cs typeface="Segoe UI Light" panose="020B0502040204020203" pitchFamily="34" charset="0"/>
                </a:rPr>
                <a:t>заказчиков используют</a:t>
              </a:r>
            </a:p>
            <a:p>
              <a:pPr>
                <a:lnSpc>
                  <a:spcPct val="95000"/>
                </a:lnSpc>
                <a:buSzPct val="90000"/>
              </a:pPr>
              <a:r>
                <a:rPr lang="ru-RU" dirty="0" smtClean="0">
                  <a:solidFill>
                    <a:srgbClr val="FFFFFF"/>
                  </a:solidFill>
                  <a:latin typeface="Segoe UI Light" panose="020B0502040204020203" pitchFamily="34" charset="0"/>
                  <a:cs typeface="Segoe UI Light" panose="020B0502040204020203" pitchFamily="34" charset="0"/>
                </a:rPr>
                <a:t>сервис</a:t>
              </a:r>
              <a:endParaRPr lang="en-US" dirty="0">
                <a:solidFill>
                  <a:srgbClr val="FFFFFF"/>
                </a:solidFill>
                <a:latin typeface="Segoe UI Light" panose="020B0502040204020203" pitchFamily="34" charset="0"/>
                <a:cs typeface="Segoe UI Light" panose="020B0502040204020203" pitchFamily="34" charset="0"/>
              </a:endParaRPr>
            </a:p>
          </p:txBody>
        </p:sp>
      </p:grpSp>
      <p:grpSp>
        <p:nvGrpSpPr>
          <p:cNvPr id="20" name="Group 19"/>
          <p:cNvGrpSpPr/>
          <p:nvPr/>
        </p:nvGrpSpPr>
        <p:grpSpPr>
          <a:xfrm>
            <a:off x="243298" y="5155741"/>
            <a:ext cx="3760334" cy="1538310"/>
            <a:chOff x="4387873" y="5257236"/>
            <a:chExt cx="3079534" cy="1538528"/>
          </a:xfrm>
        </p:grpSpPr>
        <p:sp>
          <p:nvSpPr>
            <p:cNvPr id="21" name="Rectangle 20"/>
            <p:cNvSpPr/>
            <p:nvPr/>
          </p:nvSpPr>
          <p:spPr>
            <a:xfrm>
              <a:off x="4387873" y="5257236"/>
              <a:ext cx="1651773" cy="1523687"/>
            </a:xfrm>
            <a:prstGeom prst="rect">
              <a:avLst/>
            </a:prstGeom>
          </p:spPr>
          <p:txBody>
            <a:bodyPr wrap="square" anchor="b">
              <a:spAutoFit/>
            </a:bodyPr>
            <a:lstStyle/>
            <a:p>
              <a:pPr algn="ctr">
                <a:lnSpc>
                  <a:spcPct val="95000"/>
                </a:lnSpc>
                <a:buSzPct val="90000"/>
              </a:pPr>
              <a:r>
                <a:rPr lang="en-US" sz="9598" spc="-294" dirty="0">
                  <a:solidFill>
                    <a:srgbClr val="FFFFFF"/>
                  </a:solidFill>
                  <a:latin typeface="Segoe UI Light" panose="020B0502040204020203" pitchFamily="34" charset="0"/>
                  <a:cs typeface="Segoe UI Light" panose="020B0502040204020203" pitchFamily="34" charset="0"/>
                </a:rPr>
                <a:t>120</a:t>
              </a:r>
              <a:endParaRPr lang="en-US" sz="8798" dirty="0">
                <a:solidFill>
                  <a:srgbClr val="FFFFFF"/>
                </a:solidFill>
                <a:latin typeface="Segoe UI Light" panose="020B0502040204020203" pitchFamily="34" charset="0"/>
                <a:cs typeface="Segoe UI Light" panose="020B0502040204020203" pitchFamily="34" charset="0"/>
              </a:endParaRPr>
            </a:p>
          </p:txBody>
        </p:sp>
        <p:sp>
          <p:nvSpPr>
            <p:cNvPr id="22" name="Rectangle 21"/>
            <p:cNvSpPr/>
            <p:nvPr/>
          </p:nvSpPr>
          <p:spPr>
            <a:xfrm>
              <a:off x="5884813" y="5475216"/>
              <a:ext cx="1582594" cy="1320548"/>
            </a:xfrm>
            <a:prstGeom prst="rect">
              <a:avLst/>
            </a:prstGeom>
          </p:spPr>
          <p:txBody>
            <a:bodyPr wrap="square">
              <a:spAutoFit/>
            </a:bodyPr>
            <a:lstStyle/>
            <a:p>
              <a:pPr>
                <a:lnSpc>
                  <a:spcPct val="95000"/>
                </a:lnSpc>
                <a:buSzPct val="90000"/>
              </a:pPr>
              <a:r>
                <a:rPr lang="en-US" sz="3600" dirty="0" smtClean="0">
                  <a:solidFill>
                    <a:srgbClr val="FFFFFF"/>
                  </a:solidFill>
                  <a:latin typeface="Segoe UI Light" panose="020B0502040204020203" pitchFamily="34" charset="0"/>
                  <a:cs typeface="Segoe UI Light" panose="020B0502040204020203" pitchFamily="34" charset="0"/>
                </a:rPr>
                <a:t>%</a:t>
              </a:r>
              <a:r>
                <a:rPr lang="ru-RU" sz="3600" dirty="0" smtClean="0">
                  <a:solidFill>
                    <a:srgbClr val="FFFFFF"/>
                  </a:solidFill>
                  <a:latin typeface="Segoe UI Light" panose="020B0502040204020203" pitchFamily="34" charset="0"/>
                  <a:cs typeface="Segoe UI Light" panose="020B0502040204020203" pitchFamily="34" charset="0"/>
                </a:rPr>
                <a:t> </a:t>
              </a:r>
            </a:p>
            <a:p>
              <a:pPr>
                <a:lnSpc>
                  <a:spcPct val="95000"/>
                </a:lnSpc>
                <a:buSzPct val="90000"/>
              </a:pPr>
              <a:r>
                <a:rPr lang="ru-RU" sz="2800" dirty="0" smtClean="0">
                  <a:solidFill>
                    <a:srgbClr val="FFFFFF"/>
                  </a:solidFill>
                  <a:latin typeface="Segoe UI Light" panose="020B0502040204020203" pitchFamily="34" charset="0"/>
                  <a:cs typeface="Segoe UI Light" panose="020B0502040204020203" pitchFamily="34" charset="0"/>
                </a:rPr>
                <a:t>Ежегодный</a:t>
              </a:r>
              <a:r>
                <a:rPr lang="en-US" sz="2000" dirty="0">
                  <a:solidFill>
                    <a:srgbClr val="FFFFFF"/>
                  </a:solidFill>
                  <a:latin typeface="Segoe UI Light" panose="020B0502040204020203" pitchFamily="34" charset="0"/>
                  <a:cs typeface="Segoe UI Light" panose="020B0502040204020203" pitchFamily="34" charset="0"/>
                </a:rPr>
                <a:t/>
              </a:r>
              <a:br>
                <a:rPr lang="en-US" sz="2000" dirty="0">
                  <a:solidFill>
                    <a:srgbClr val="FFFFFF"/>
                  </a:solidFill>
                  <a:latin typeface="Segoe UI Light" panose="020B0502040204020203" pitchFamily="34" charset="0"/>
                  <a:cs typeface="Segoe UI Light" panose="020B0502040204020203" pitchFamily="34" charset="0"/>
                </a:rPr>
              </a:br>
              <a:r>
                <a:rPr lang="ru-RU" sz="2000" dirty="0" smtClean="0">
                  <a:solidFill>
                    <a:srgbClr val="FFFFFF"/>
                  </a:solidFill>
                  <a:latin typeface="Segoe UI Light" panose="020B0502040204020203" pitchFamily="34" charset="0"/>
                  <a:cs typeface="Segoe UI Light" panose="020B0502040204020203" pitchFamily="34" charset="0"/>
                </a:rPr>
                <a:t>Рост клиентов</a:t>
              </a:r>
              <a:endParaRPr lang="en-US" sz="4800" dirty="0">
                <a:solidFill>
                  <a:srgbClr val="FFFFFF"/>
                </a:solidFill>
                <a:latin typeface="Segoe UI Light" panose="020B0502040204020203" pitchFamily="34" charset="0"/>
                <a:cs typeface="Segoe UI Light" panose="020B0502040204020203" pitchFamily="34" charset="0"/>
              </a:endParaRPr>
            </a:p>
          </p:txBody>
        </p:sp>
      </p:grpSp>
      <p:grpSp>
        <p:nvGrpSpPr>
          <p:cNvPr id="23" name="Group 22"/>
          <p:cNvGrpSpPr/>
          <p:nvPr/>
        </p:nvGrpSpPr>
        <p:grpSpPr>
          <a:xfrm>
            <a:off x="10334531" y="4646304"/>
            <a:ext cx="2059667" cy="1671677"/>
            <a:chOff x="10335132" y="4326939"/>
            <a:chExt cx="2059960" cy="1671913"/>
          </a:xfrm>
        </p:grpSpPr>
        <p:sp>
          <p:nvSpPr>
            <p:cNvPr id="24" name="Rectangle 23"/>
            <p:cNvSpPr/>
            <p:nvPr/>
          </p:nvSpPr>
          <p:spPr>
            <a:xfrm>
              <a:off x="10335132" y="4326939"/>
              <a:ext cx="587104" cy="677204"/>
            </a:xfrm>
            <a:prstGeom prst="rect">
              <a:avLst/>
            </a:prstGeom>
          </p:spPr>
          <p:txBody>
            <a:bodyPr wrap="none">
              <a:spAutoFit/>
            </a:bodyPr>
            <a:lstStyle/>
            <a:p>
              <a:pPr>
                <a:lnSpc>
                  <a:spcPct val="95000"/>
                </a:lnSpc>
                <a:buSzPct val="90000"/>
              </a:pPr>
              <a:r>
                <a:rPr lang="en-US" sz="4000" dirty="0" smtClean="0">
                  <a:solidFill>
                    <a:srgbClr val="FFFFFF"/>
                  </a:solidFill>
                  <a:latin typeface="Segoe UI Light" panose="020B0502040204020203" pitchFamily="34" charset="0"/>
                  <a:cs typeface="Segoe UI Light" panose="020B0502040204020203" pitchFamily="34" charset="0"/>
                </a:rPr>
                <a:t>%</a:t>
              </a:r>
              <a:endParaRPr lang="en-US" sz="4000" dirty="0">
                <a:solidFill>
                  <a:srgbClr val="FFFFFF"/>
                </a:solidFill>
                <a:latin typeface="Segoe UI Light" panose="020B0502040204020203" pitchFamily="34" charset="0"/>
                <a:cs typeface="Segoe UI Light" panose="020B0502040204020203" pitchFamily="34" charset="0"/>
              </a:endParaRPr>
            </a:p>
          </p:txBody>
        </p:sp>
        <p:sp>
          <p:nvSpPr>
            <p:cNvPr id="25" name="TextBox 24"/>
            <p:cNvSpPr txBox="1"/>
            <p:nvPr/>
          </p:nvSpPr>
          <p:spPr>
            <a:xfrm>
              <a:off x="10335132" y="4890700"/>
              <a:ext cx="2059960" cy="1108152"/>
            </a:xfrm>
            <a:prstGeom prst="rect">
              <a:avLst/>
            </a:prstGeom>
            <a:noFill/>
          </p:spPr>
          <p:txBody>
            <a:bodyPr wrap="square" rtlCol="0">
              <a:spAutoFit/>
            </a:bodyPr>
            <a:lstStyle/>
            <a:p>
              <a:r>
                <a:rPr lang="ru-RU" sz="1600" dirty="0" smtClean="0">
                  <a:solidFill>
                    <a:srgbClr val="FFFFFF"/>
                  </a:solidFill>
                  <a:latin typeface="Segoe UI Light"/>
                </a:rPr>
                <a:t>Ежегодный рост</a:t>
              </a:r>
            </a:p>
            <a:p>
              <a:r>
                <a:rPr lang="ru-RU" sz="1600" dirty="0" smtClean="0">
                  <a:solidFill>
                    <a:srgbClr val="FFFFFF"/>
                  </a:solidFill>
                  <a:latin typeface="Segoe UI Light"/>
                </a:rPr>
                <a:t>Объемов использования</a:t>
              </a:r>
              <a:endParaRPr lang="en-US" sz="1600" dirty="0">
                <a:solidFill>
                  <a:srgbClr val="FFFFFF"/>
                </a:solidFill>
                <a:latin typeface="Segoe UI Light"/>
              </a:endParaRPr>
            </a:p>
            <a:p>
              <a:endParaRPr lang="en-US" dirty="0">
                <a:solidFill>
                  <a:srgbClr val="FFFFFF"/>
                </a:solidFill>
                <a:latin typeface="Segoe UI Light"/>
              </a:endParaRPr>
            </a:p>
          </p:txBody>
        </p:sp>
      </p:grpSp>
      <p:sp>
        <p:nvSpPr>
          <p:cNvPr id="26" name="Title 1"/>
          <p:cNvSpPr txBox="1">
            <a:spLocks/>
          </p:cNvSpPr>
          <p:nvPr/>
        </p:nvSpPr>
        <p:spPr>
          <a:xfrm>
            <a:off x="170160" y="1134737"/>
            <a:ext cx="3524361" cy="1387304"/>
          </a:xfrm>
          <a:prstGeom prst="rect">
            <a:avLst/>
          </a:prstGeom>
        </p:spPr>
        <p:txBody>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r>
              <a:rPr lang="en-US" sz="3600" dirty="0">
                <a:solidFill>
                  <a:srgbClr val="FFFFFF"/>
                </a:solidFill>
              </a:rPr>
              <a:t>Azure </a:t>
            </a:r>
            <a:r>
              <a:rPr lang="en-US" sz="3600" dirty="0" smtClean="0">
                <a:solidFill>
                  <a:srgbClr val="FFFFFF"/>
                </a:solidFill>
              </a:rPr>
              <a:t>Web Apps</a:t>
            </a:r>
          </a:p>
          <a:p>
            <a:r>
              <a:rPr lang="ru-RU" sz="3600" dirty="0" smtClean="0">
                <a:solidFill>
                  <a:srgbClr val="FFFFFF"/>
                </a:solidFill>
              </a:rPr>
              <a:t>В цифрах</a:t>
            </a:r>
            <a:endParaRPr lang="en-US" sz="800" dirty="0">
              <a:solidFill>
                <a:srgbClr val="FFFFFF"/>
              </a:solidFill>
            </a:endParaRPr>
          </a:p>
        </p:txBody>
      </p:sp>
      <p:sp>
        <p:nvSpPr>
          <p:cNvPr id="27" name="Rectangle 26"/>
          <p:cNvSpPr/>
          <p:nvPr/>
        </p:nvSpPr>
        <p:spPr>
          <a:xfrm>
            <a:off x="8328111" y="4465417"/>
            <a:ext cx="2492459" cy="1523471"/>
          </a:xfrm>
          <a:prstGeom prst="rect">
            <a:avLst/>
          </a:prstGeom>
        </p:spPr>
        <p:txBody>
          <a:bodyPr wrap="square" anchor="ctr">
            <a:spAutoFit/>
          </a:bodyPr>
          <a:lstStyle/>
          <a:p>
            <a:pPr>
              <a:lnSpc>
                <a:spcPct val="95000"/>
              </a:lnSpc>
              <a:buSzPct val="90000"/>
            </a:pPr>
            <a:r>
              <a:rPr lang="en-US" sz="9598" dirty="0">
                <a:solidFill>
                  <a:srgbClr val="FFFFFF"/>
                </a:solidFill>
                <a:latin typeface="Segoe UI Light" panose="020B0502040204020203" pitchFamily="34" charset="0"/>
                <a:cs typeface="Segoe UI Light" panose="020B0502040204020203" pitchFamily="34" charset="0"/>
              </a:rPr>
              <a:t>650</a:t>
            </a:r>
          </a:p>
        </p:txBody>
      </p:sp>
      <p:grpSp>
        <p:nvGrpSpPr>
          <p:cNvPr id="28" name="Group 27"/>
          <p:cNvGrpSpPr/>
          <p:nvPr/>
        </p:nvGrpSpPr>
        <p:grpSpPr>
          <a:xfrm>
            <a:off x="6436854" y="4646278"/>
            <a:ext cx="2059667" cy="1115406"/>
            <a:chOff x="10335132" y="4646472"/>
            <a:chExt cx="2059960" cy="1115569"/>
          </a:xfrm>
        </p:grpSpPr>
        <p:sp>
          <p:nvSpPr>
            <p:cNvPr id="29" name="Rectangle 28"/>
            <p:cNvSpPr/>
            <p:nvPr/>
          </p:nvSpPr>
          <p:spPr>
            <a:xfrm>
              <a:off x="10335132" y="4646472"/>
              <a:ext cx="587104" cy="677204"/>
            </a:xfrm>
            <a:prstGeom prst="rect">
              <a:avLst/>
            </a:prstGeom>
          </p:spPr>
          <p:txBody>
            <a:bodyPr wrap="none">
              <a:spAutoFit/>
            </a:bodyPr>
            <a:lstStyle/>
            <a:p>
              <a:pPr>
                <a:lnSpc>
                  <a:spcPct val="95000"/>
                </a:lnSpc>
                <a:buSzPct val="90000"/>
              </a:pPr>
              <a:r>
                <a:rPr lang="en-US" sz="4000" dirty="0" smtClean="0">
                  <a:solidFill>
                    <a:srgbClr val="FFFFFF"/>
                  </a:solidFill>
                  <a:latin typeface="Segoe UI Light" panose="020B0502040204020203" pitchFamily="34" charset="0"/>
                  <a:cs typeface="Segoe UI Light" panose="020B0502040204020203" pitchFamily="34" charset="0"/>
                </a:rPr>
                <a:t>%</a:t>
              </a:r>
              <a:endParaRPr lang="en-US" sz="7198" dirty="0">
                <a:solidFill>
                  <a:srgbClr val="FFFFFF"/>
                </a:solidFill>
                <a:latin typeface="Segoe UI Light" panose="020B0502040204020203" pitchFamily="34" charset="0"/>
                <a:cs typeface="Segoe UI Light" panose="020B0502040204020203" pitchFamily="34" charset="0"/>
              </a:endParaRPr>
            </a:p>
          </p:txBody>
        </p:sp>
        <p:sp>
          <p:nvSpPr>
            <p:cNvPr id="30" name="TextBox 29"/>
            <p:cNvSpPr txBox="1"/>
            <p:nvPr/>
          </p:nvSpPr>
          <p:spPr>
            <a:xfrm>
              <a:off x="10335132" y="5177181"/>
              <a:ext cx="2059960" cy="584860"/>
            </a:xfrm>
            <a:prstGeom prst="rect">
              <a:avLst/>
            </a:prstGeom>
            <a:noFill/>
          </p:spPr>
          <p:txBody>
            <a:bodyPr wrap="square" rtlCol="0">
              <a:spAutoFit/>
            </a:bodyPr>
            <a:lstStyle/>
            <a:p>
              <a:r>
                <a:rPr lang="ru-RU" sz="1600" dirty="0" smtClean="0">
                  <a:solidFill>
                    <a:srgbClr val="FFFFFF"/>
                  </a:solidFill>
                  <a:latin typeface="Segoe UI Light"/>
                </a:rPr>
                <a:t>Ежегодный рост</a:t>
              </a:r>
            </a:p>
            <a:p>
              <a:r>
                <a:rPr lang="ru-RU" sz="1600" dirty="0" smtClean="0">
                  <a:solidFill>
                    <a:srgbClr val="FFFFFF"/>
                  </a:solidFill>
                  <a:latin typeface="Segoe UI Light"/>
                </a:rPr>
                <a:t>траффика</a:t>
              </a:r>
              <a:endParaRPr lang="en-US" sz="1600" dirty="0">
                <a:solidFill>
                  <a:srgbClr val="FFFFFF"/>
                </a:solidFill>
                <a:latin typeface="Segoe UI Light"/>
              </a:endParaRPr>
            </a:p>
          </p:txBody>
        </p:sp>
      </p:grpSp>
      <p:sp>
        <p:nvSpPr>
          <p:cNvPr id="31" name="Rectangle 30"/>
          <p:cNvSpPr/>
          <p:nvPr/>
        </p:nvSpPr>
        <p:spPr>
          <a:xfrm>
            <a:off x="4430433" y="4465417"/>
            <a:ext cx="2492459" cy="1523471"/>
          </a:xfrm>
          <a:prstGeom prst="rect">
            <a:avLst/>
          </a:prstGeom>
        </p:spPr>
        <p:txBody>
          <a:bodyPr wrap="square" anchor="ctr">
            <a:spAutoFit/>
          </a:bodyPr>
          <a:lstStyle/>
          <a:p>
            <a:pPr>
              <a:lnSpc>
                <a:spcPct val="95000"/>
              </a:lnSpc>
              <a:buSzPct val="90000"/>
            </a:pPr>
            <a:r>
              <a:rPr lang="en-US" sz="9598" dirty="0">
                <a:solidFill>
                  <a:srgbClr val="FFFFFF"/>
                </a:solidFill>
                <a:latin typeface="Segoe UI Light" panose="020B0502040204020203" pitchFamily="34" charset="0"/>
                <a:cs typeface="Segoe UI Light" panose="020B0502040204020203" pitchFamily="34" charset="0"/>
              </a:rPr>
              <a:t>500</a:t>
            </a:r>
          </a:p>
        </p:txBody>
      </p:sp>
      <p:cxnSp>
        <p:nvCxnSpPr>
          <p:cNvPr id="32" name="Straight Connector 31"/>
          <p:cNvCxnSpPr/>
          <p:nvPr/>
        </p:nvCxnSpPr>
        <p:spPr>
          <a:xfrm>
            <a:off x="0" y="5154233"/>
            <a:ext cx="4064576" cy="1"/>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1486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JDm.Jc5qL0C8b.KDEoZoB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OYDIn4eA3028iYg4tqi_ng"/>
</p:tagLst>
</file>

<file path=ppt/theme/theme1.xml><?xml version="1.0" encoding="utf-8"?>
<a:theme xmlns:a="http://schemas.openxmlformats.org/drawingml/2006/main" name="Office Theme">
  <a:themeElements>
    <a:clrScheme name="MS RoadShow">
      <a:dk1>
        <a:srgbClr val="4F525F"/>
      </a:dk1>
      <a:lt1>
        <a:sysClr val="window" lastClr="FFFFFF"/>
      </a:lt1>
      <a:dk2>
        <a:srgbClr val="5DAB47"/>
      </a:dk2>
      <a:lt2>
        <a:srgbClr val="FFFFFF"/>
      </a:lt2>
      <a:accent1>
        <a:srgbClr val="FFD200"/>
      </a:accent1>
      <a:accent2>
        <a:srgbClr val="FF7E00"/>
      </a:accent2>
      <a:accent3>
        <a:srgbClr val="FFA200"/>
      </a:accent3>
      <a:accent4>
        <a:srgbClr val="B77DEF"/>
      </a:accent4>
      <a:accent5>
        <a:srgbClr val="AFF1FF"/>
      </a:accent5>
      <a:accent6>
        <a:srgbClr val="6C6E78"/>
      </a:accent6>
      <a:hlink>
        <a:srgbClr val="1B5CA9"/>
      </a:hlink>
      <a:folHlink>
        <a:srgbClr val="61625E"/>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erver and Cloud 2013">
  <a:themeElements>
    <a:clrScheme name="Custom 7">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FFFFFF"/>
      </a:hlink>
      <a:folHlink>
        <a:srgbClr val="FFFF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3.potx" id="{E6C7328A-7432-4964-ABFD-DFF5D441CE7B}" vid="{837F8EB0-5AAA-4548-B4B7-BF228168AD07}"/>
    </a:ext>
  </a:extLst>
</a:theme>
</file>

<file path=ppt/theme/theme3.xml><?xml version="1.0" encoding="utf-8"?>
<a:theme xmlns:a="http://schemas.openxmlformats.org/drawingml/2006/main" name="1_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TEE14 Speaker PPT Template">
  <a:themeElements>
    <a:clrScheme name="Custom 1">
      <a:dk1>
        <a:srgbClr val="505050"/>
      </a:dk1>
      <a:lt1>
        <a:srgbClr val="FFFFFF"/>
      </a:lt1>
      <a:dk2>
        <a:srgbClr val="442359"/>
      </a:dk2>
      <a:lt2>
        <a:srgbClr val="68217A"/>
      </a:lt2>
      <a:accent1>
        <a:srgbClr val="7FBA00"/>
      </a:accent1>
      <a:accent2>
        <a:srgbClr val="DC3C00"/>
      </a:accent2>
      <a:accent3>
        <a:srgbClr val="002050"/>
      </a:accent3>
      <a:accent4>
        <a:srgbClr val="009E49"/>
      </a:accent4>
      <a:accent5>
        <a:srgbClr val="00B294"/>
      </a:accent5>
      <a:accent6>
        <a:srgbClr val="0072C6"/>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NA_Template_with_TechEd Europe_r03.potx" id="{D1757E1E-F62B-43A3-BA2B-231531828368}" vid="{DB3EECF5-125C-46BC-AC50-75EC4FF82334}"/>
    </a:ext>
  </a:extLst>
</a:theme>
</file>

<file path=ppt/theme/theme6.xml><?xml version="1.0" encoding="utf-8"?>
<a:theme xmlns:a="http://schemas.openxmlformats.org/drawingml/2006/main" name="Тема Office">
  <a:themeElements>
    <a:clrScheme name="Windows">
      <a:dk1>
        <a:srgbClr val="060F18"/>
      </a:dk1>
      <a:lt1>
        <a:srgbClr val="FFFFFF"/>
      </a:lt1>
      <a:dk2>
        <a:srgbClr val="505050"/>
      </a:dk2>
      <a:lt2>
        <a:srgbClr val="FFFFFF"/>
      </a:lt2>
      <a:accent1>
        <a:srgbClr val="FF8C00"/>
      </a:accent1>
      <a:accent2>
        <a:srgbClr val="E81123"/>
      </a:accent2>
      <a:accent3>
        <a:srgbClr val="EC008C"/>
      </a:accent3>
      <a:accent4>
        <a:srgbClr val="00188F"/>
      </a:accent4>
      <a:accent5>
        <a:srgbClr val="009E49"/>
      </a:accent5>
      <a:accent6>
        <a:srgbClr val="7FBA00"/>
      </a:accent6>
      <a:hlink>
        <a:srgbClr val="00BCF2"/>
      </a:hlink>
      <a:folHlink>
        <a:srgbClr val="00B294"/>
      </a:folHlink>
    </a:clrScheme>
    <a:fontScheme name="Segoe">
      <a:majorFont>
        <a:latin typeface="Segoe UI Light"/>
        <a:ea typeface=""/>
        <a:cs typeface=""/>
      </a:majorFont>
      <a:minorFont>
        <a:latin typeface="Segoe UI"/>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Azure Presentation Template_Light">
  <a:themeElements>
    <a:clrScheme name="Windows Azure Light template">
      <a:dk1>
        <a:srgbClr val="292929"/>
      </a:dk1>
      <a:lt1>
        <a:srgbClr val="FFFFFF"/>
      </a:lt1>
      <a:dk2>
        <a:srgbClr val="1288B2"/>
      </a:dk2>
      <a:lt2>
        <a:srgbClr val="B7FDFB"/>
      </a:lt2>
      <a:accent1>
        <a:srgbClr val="B7FDFB"/>
      </a:accent1>
      <a:accent2>
        <a:srgbClr val="FE5815"/>
      </a:accent2>
      <a:accent3>
        <a:srgbClr val="3B3B3B"/>
      </a:accent3>
      <a:accent4>
        <a:srgbClr val="4FD12C"/>
      </a:accent4>
      <a:accent5>
        <a:srgbClr val="DBDBDB"/>
      </a:accent5>
      <a:accent6>
        <a:srgbClr val="DAF40A"/>
      </a:accent6>
      <a:hlink>
        <a:srgbClr val="49C2ED"/>
      </a:hlink>
      <a:folHlink>
        <a:srgbClr val="49C2ED"/>
      </a:folHlink>
    </a:clrScheme>
    <a:fontScheme name="Segoe UI">
      <a:majorFont>
        <a:latin typeface="Segoe UI"/>
        <a:ea typeface=""/>
        <a:cs typeface=""/>
      </a:majorFont>
      <a:minorFont>
        <a:latin typeface="Segoe UI"/>
        <a:ea typeface=""/>
        <a:cs typeface=""/>
      </a:minorFont>
    </a:fontScheme>
    <a:fmtScheme name="Verve">
      <a:fillStyleLst>
        <a:solidFill>
          <a:schemeClr val="phClr"/>
        </a:solidFill>
        <a:gradFill rotWithShape="1">
          <a:gsLst>
            <a:gs pos="0">
              <a:schemeClr val="phClr">
                <a:tint val="10000"/>
                <a:satMod val="300000"/>
              </a:schemeClr>
            </a:gs>
            <a:gs pos="34000">
              <a:schemeClr val="phClr">
                <a:tint val="13500"/>
                <a:satMod val="250000"/>
              </a:schemeClr>
            </a:gs>
            <a:gs pos="100000">
              <a:schemeClr val="phClr">
                <a:tint val="60000"/>
                <a:satMod val="200000"/>
              </a:schemeClr>
            </a:gs>
          </a:gsLst>
          <a:path path="circle">
            <a:fillToRect l="50000" t="155000" r="50000" b="-55000"/>
          </a:path>
        </a:gradFill>
        <a:gradFill rotWithShape="1">
          <a:gsLst>
            <a:gs pos="0">
              <a:schemeClr val="phClr">
                <a:tint val="60000"/>
                <a:satMod val="160000"/>
              </a:schemeClr>
            </a:gs>
            <a:gs pos="46000">
              <a:schemeClr val="phClr">
                <a:tint val="86000"/>
                <a:satMod val="160000"/>
              </a:schemeClr>
            </a:gs>
            <a:gs pos="100000">
              <a:schemeClr val="phClr">
                <a:shade val="40000"/>
                <a:satMod val="160000"/>
              </a:schemeClr>
            </a:gs>
          </a:gsLst>
          <a:path path="circle">
            <a:fillToRect l="50000" t="155000" r="50000" b="-55000"/>
          </a:path>
        </a:gradFill>
      </a:fillStyleLst>
      <a:lnStyleLst>
        <a:ln w="9525" cap="flat" cmpd="sng" algn="ctr">
          <a:solidFill>
            <a:schemeClr val="phClr">
              <a:satMod val="120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63500" dist="25400" dir="14700000" algn="t" rotWithShape="0">
              <a:srgbClr val="000000">
                <a:alpha val="50000"/>
              </a:srgbClr>
            </a:outerShdw>
          </a:effectLst>
        </a:effectStyle>
        <a:effectStyle>
          <a:effectLst>
            <a:outerShdw blurRad="50800" dist="38100" dir="14700000" algn="t" rotWithShape="0">
              <a:srgbClr val="000000">
                <a:alpha val="60000"/>
              </a:srgbClr>
            </a:outerShdw>
          </a:effectLst>
        </a:effectStyle>
        <a:effectStyle>
          <a:effectLst>
            <a:outerShdw blurRad="50800" dist="38100" dir="14700000" algn="t" rotWithShape="0">
              <a:srgbClr val="000000">
                <a:alpha val="60000"/>
              </a:srgbClr>
            </a:outerShdw>
          </a:effectLst>
          <a:scene3d>
            <a:camera prst="orthographicFront" fov="0">
              <a:rot lat="0" lon="0" rev="0"/>
            </a:camera>
            <a:lightRig rig="contrasting" dir="t">
              <a:rot lat="0" lon="0" rev="3600000"/>
            </a:lightRig>
          </a:scene3d>
          <a:sp3d prstMaterial="plastic">
            <a:bevelT w="127000" h="38200" prst="relaxedInset"/>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effectLst>
          <a:innerShdw blurRad="127000" dir="11220000">
            <a:prstClr val="black">
              <a:alpha val="50000"/>
            </a:prstClr>
          </a:innerShdw>
        </a:effectLst>
        <a:scene3d>
          <a:camera prst="orthographicFront"/>
          <a:lightRig rig="threePt" dir="tl"/>
        </a:scene3d>
        <a:sp3d prstMaterial="matte"/>
      </a:spPr>
      <a:bodyPr vert="horz" wrap="square" lIns="91436" tIns="45718" rIns="91436" bIns="45718" numCol="1" rtlCol="0" anchor="ctr" anchorCtr="0" compatLnSpc="1">
        <a:prstTxWarp prst="textNoShape">
          <a:avLst/>
        </a:prstTxWarp>
      </a:bodyPr>
      <a:lstStyle>
        <a:defPPr algn="ctr" defTabSz="914099">
          <a:defRPr sz="2400" dirty="0" smtClean="0">
            <a:gradFill>
              <a:gsLst>
                <a:gs pos="0">
                  <a:srgbClr val="292929"/>
                </a:gs>
                <a:gs pos="88000">
                  <a:srgbClr val="292929"/>
                </a:gs>
              </a:gsLst>
              <a:lin ang="5400000" scaled="0"/>
            </a:gradFill>
          </a:defRPr>
        </a:defPPr>
      </a:lstStyle>
      <a:style>
        <a:lnRef idx="0">
          <a:schemeClr val="accent1"/>
        </a:lnRef>
        <a:fillRef idx="3">
          <a:schemeClr val="accent1"/>
        </a:fillRef>
        <a:effectRef idx="3">
          <a:schemeClr val="accent1"/>
        </a:effectRef>
        <a:fontRef idx="minor">
          <a:schemeClr val="lt1"/>
        </a:fontRef>
      </a:style>
    </a:spDef>
    <a:txDef>
      <a:spPr>
        <a:noFill/>
      </a:spPr>
      <a:bodyPr wrap="none" lIns="0" tIns="0" rIns="0" bIns="0" rtlCol="0">
        <a:spAutoFit/>
      </a:bodyPr>
      <a:lstStyle>
        <a:defPPr>
          <a:defRPr sz="3200" dirty="0" err="1" smtClean="0">
            <a:gradFill>
              <a:gsLst>
                <a:gs pos="0">
                  <a:schemeClr val="tx1"/>
                </a:gs>
                <a:gs pos="86000">
                  <a:schemeClr val="tx1"/>
                </a:gs>
              </a:gsLst>
              <a:lin ang="5400000" scaled="0"/>
            </a:gradFill>
          </a:defRPr>
        </a:defPPr>
      </a:lstStyle>
    </a:txDef>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6BDC9AB8D85574E92B3FF85DD8EEE9A" ma:contentTypeVersion="1" ma:contentTypeDescription="Create a new document." ma:contentTypeScope="" ma:versionID="6f873300b833d51c2baa95a3e53eb954">
  <xsd:schema xmlns:xsd="http://www.w3.org/2001/XMLSchema" xmlns:xs="http://www.w3.org/2001/XMLSchema" xmlns:p="http://schemas.microsoft.com/office/2006/metadata/properties" xmlns:ns3="83163233-208f-487d-8d66-a814ca9ada95" targetNamespace="http://schemas.microsoft.com/office/2006/metadata/properties" ma:root="true" ma:fieldsID="778e1dc9adeab820d9d6d75e964f0f14" ns3:_="">
    <xsd:import namespace="83163233-208f-487d-8d66-a814ca9ada95"/>
    <xsd:element name="properties">
      <xsd:complexType>
        <xsd:sequence>
          <xsd:element name="documentManagement">
            <xsd:complexType>
              <xsd:all>
                <xsd:element ref="ns3: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163233-208f-487d-8d66-a814ca9ada95"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9CDE3BE8-91FE-44AC-808D-1347501DDB1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3163233-208f-487d-8d66-a814ca9ada9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4E7AA88-0BAC-4C18-B8FE-71244BF49AF6}">
  <ds:schemaRefs>
    <ds:schemaRef ds:uri="http://schemas.microsoft.com/sharepoint/v3/contenttype/forms"/>
  </ds:schemaRefs>
</ds:datastoreItem>
</file>

<file path=customXml/itemProps3.xml><?xml version="1.0" encoding="utf-8"?>
<ds:datastoreItem xmlns:ds="http://schemas.openxmlformats.org/officeDocument/2006/customXml" ds:itemID="{941893CC-1F54-470E-96DA-4452E9646FCD}">
  <ds:schemaRefs>
    <ds:schemaRef ds:uri="http://schemas.microsoft.com/office/infopath/2007/PartnerControls"/>
    <ds:schemaRef ds:uri="http://purl.org/dc/terms/"/>
    <ds:schemaRef ds:uri="http://schemas.microsoft.com/office/2006/documentManagement/types"/>
    <ds:schemaRef ds:uri="http://purl.org/dc/elements/1.1/"/>
    <ds:schemaRef ds:uri="http://schemas.openxmlformats.org/package/2006/metadata/core-properties"/>
    <ds:schemaRef ds:uri="83163233-208f-487d-8d66-a814ca9ada95"/>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3200</TotalTime>
  <Words>4388</Words>
  <Application>Microsoft Office PowerPoint</Application>
  <PresentationFormat>Widescreen</PresentationFormat>
  <Paragraphs>737</Paragraphs>
  <Slides>63</Slides>
  <Notes>23</Notes>
  <HiddenSlides>0</HiddenSlides>
  <MMClips>0</MMClips>
  <ScaleCrop>false</ScaleCrop>
  <HeadingPairs>
    <vt:vector size="8" baseType="variant">
      <vt:variant>
        <vt:lpstr>Fonts Used</vt:lpstr>
      </vt:variant>
      <vt:variant>
        <vt:i4>10</vt:i4>
      </vt:variant>
      <vt:variant>
        <vt:lpstr>Theme</vt:lpstr>
      </vt:variant>
      <vt:variant>
        <vt:i4>7</vt:i4>
      </vt:variant>
      <vt:variant>
        <vt:lpstr>Embedded OLE Servers</vt:lpstr>
      </vt:variant>
      <vt:variant>
        <vt:i4>1</vt:i4>
      </vt:variant>
      <vt:variant>
        <vt:lpstr>Slide Titles</vt:lpstr>
      </vt:variant>
      <vt:variant>
        <vt:i4>63</vt:i4>
      </vt:variant>
    </vt:vector>
  </HeadingPairs>
  <TitlesOfParts>
    <vt:vector size="81" baseType="lpstr">
      <vt:lpstr>Arial</vt:lpstr>
      <vt:lpstr>Calibri</vt:lpstr>
      <vt:lpstr>Consolas</vt:lpstr>
      <vt:lpstr>Segoe</vt:lpstr>
      <vt:lpstr>Segoe Light</vt:lpstr>
      <vt:lpstr>Segoe UI</vt:lpstr>
      <vt:lpstr>Segoe UI Light</vt:lpstr>
      <vt:lpstr>Segoe UI Semibold</vt:lpstr>
      <vt:lpstr>Segoe UI Symbol</vt:lpstr>
      <vt:lpstr>Wingdings</vt:lpstr>
      <vt:lpstr>Office Theme</vt:lpstr>
      <vt:lpstr>Server and Cloud 2013</vt:lpstr>
      <vt:lpstr>1_Azure Medium</vt:lpstr>
      <vt:lpstr>Azure Medium</vt:lpstr>
      <vt:lpstr>TEE14 Speaker PPT Template</vt:lpstr>
      <vt:lpstr>Тема Office</vt:lpstr>
      <vt:lpstr>Azure Presentation Template_Light</vt:lpstr>
      <vt:lpstr>think-cell Slide</vt:lpstr>
      <vt:lpstr>PowerPoint Presentation</vt:lpstr>
      <vt:lpstr>Облако Azure</vt:lpstr>
      <vt:lpstr>@abokov</vt:lpstr>
      <vt:lpstr>PowerPoint Presentation</vt:lpstr>
      <vt:lpstr>PowerPoint Presentation</vt:lpstr>
      <vt:lpstr>PowerPoint Presentation</vt:lpstr>
      <vt:lpstr>Доля облачных приложений растёт</vt:lpstr>
      <vt:lpstr>PowerPoint Presentation</vt:lpstr>
      <vt:lpstr>PowerPoint Presentation</vt:lpstr>
      <vt:lpstr>PowerPoint Presentation</vt:lpstr>
      <vt:lpstr>Azure Websites Customers and Partners Folks doing interesting things on the platform</vt:lpstr>
      <vt:lpstr>Who uses Azure Websites?</vt:lpstr>
      <vt:lpstr>PowerPoint Presentation</vt:lpstr>
      <vt:lpstr>Jägermeister </vt:lpstr>
      <vt:lpstr>Azure Websites Features &amp; Capabilities</vt:lpstr>
      <vt:lpstr>Site Extensions</vt:lpstr>
      <vt:lpstr>I- Development and Deployment </vt:lpstr>
      <vt:lpstr>I- Development and Deployment</vt:lpstr>
      <vt:lpstr>I- Development and Deployment</vt:lpstr>
      <vt:lpstr>II- Debugging and Investigations </vt:lpstr>
      <vt:lpstr>III- Management and Administration</vt:lpstr>
      <vt:lpstr>Azure Websites Features &amp; Capabilities</vt:lpstr>
      <vt:lpstr>PowerPoint Presentation</vt:lpstr>
      <vt:lpstr>Running Modes</vt:lpstr>
      <vt:lpstr>Создание webjobs</vt:lpstr>
      <vt:lpstr>Процесс выполнения webjobs</vt:lpstr>
      <vt:lpstr>Размещение внутри сайта</vt:lpstr>
      <vt:lpstr>Настройки</vt:lpstr>
      <vt:lpstr>Управление остановкой задач</vt:lpstr>
      <vt:lpstr>Управление запуском через settings.job</vt:lpstr>
      <vt:lpstr>Переменные окружения</vt:lpstr>
      <vt:lpstr>Пример</vt:lpstr>
      <vt:lpstr>Traffic Manager –  how it works ?</vt:lpstr>
      <vt:lpstr>PowerPoint Presentation</vt:lpstr>
      <vt:lpstr>Use Azure as disaster  recovery for your site</vt:lpstr>
      <vt:lpstr>How to create?</vt:lpstr>
      <vt:lpstr>Create new traffic manager profile</vt:lpstr>
      <vt:lpstr>Create new traffic manager profile</vt:lpstr>
      <vt:lpstr>Create new traffic manager profile</vt:lpstr>
      <vt:lpstr>Add on-premise end point</vt:lpstr>
      <vt:lpstr>Add Azure end-point</vt:lpstr>
      <vt:lpstr>Set profile</vt:lpstr>
      <vt:lpstr>Set profile</vt:lpstr>
      <vt:lpstr>Change DNS record</vt:lpstr>
      <vt:lpstr>DigWebInterface.com</vt:lpstr>
      <vt:lpstr>DigWebInterface.com</vt:lpstr>
      <vt:lpstr>First version of architecture </vt:lpstr>
      <vt:lpstr>Risks</vt:lpstr>
      <vt:lpstr>Actions</vt:lpstr>
      <vt:lpstr>Second version of architecture  (already in production )</vt:lpstr>
      <vt:lpstr>Issues</vt:lpstr>
      <vt:lpstr>Actions</vt:lpstr>
      <vt:lpstr>3rd version of architecture  </vt:lpstr>
      <vt:lpstr>Продакшн..</vt:lpstr>
      <vt:lpstr>Results </vt:lpstr>
      <vt:lpstr>Подробнее о способах приобретения Microsoft Azure</vt:lpstr>
      <vt:lpstr>Бизнес поддержка для партнеров-разработчиков</vt:lpstr>
      <vt:lpstr>Бесплатные опции</vt:lpstr>
      <vt:lpstr>Web sites</vt:lpstr>
      <vt:lpstr>Traffic Manager</vt:lpstr>
      <vt:lpstr>PowerPoint Presentation</vt:lpstr>
      <vt:lpstr>PowerPoint Presentation</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onstantin Kichinsky</dc:creator>
  <cp:lastModifiedBy>Alexey Bokov</cp:lastModifiedBy>
  <cp:revision>100</cp:revision>
  <dcterms:created xsi:type="dcterms:W3CDTF">2014-11-16T16:38:53Z</dcterms:created>
  <dcterms:modified xsi:type="dcterms:W3CDTF">2015-04-22T12:15: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6BDC9AB8D85574E92B3FF85DD8EEE9A</vt:lpwstr>
  </property>
</Properties>
</file>